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0" r:id="rId8"/>
  </p:sldMasterIdLst>
  <p:notesMasterIdLst>
    <p:notesMasterId r:id="rId22"/>
  </p:notesMasterIdLst>
  <p:sldIdLst>
    <p:sldId id="370" r:id="rId9"/>
    <p:sldId id="336" r:id="rId10"/>
    <p:sldId id="1569" r:id="rId11"/>
    <p:sldId id="301" r:id="rId12"/>
    <p:sldId id="1566" r:id="rId13"/>
    <p:sldId id="2016" r:id="rId14"/>
    <p:sldId id="1533" r:id="rId15"/>
    <p:sldId id="2015" r:id="rId16"/>
    <p:sldId id="1540" r:id="rId17"/>
    <p:sldId id="1563" r:id="rId18"/>
    <p:sldId id="1567" r:id="rId19"/>
    <p:sldId id="1565" r:id="rId20"/>
    <p:sldId id="2017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13" userDrawn="1">
          <p15:clr>
            <a:srgbClr val="A4A3A4"/>
          </p15:clr>
        </p15:guide>
        <p15:guide id="2" pos="5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swald, Victoria" initials="OV" lastIdx="40" clrIdx="0">
    <p:extLst>
      <p:ext uri="{19B8F6BF-5375-455C-9EA6-DF929625EA0E}">
        <p15:presenceInfo xmlns:p15="http://schemas.microsoft.com/office/powerpoint/2012/main" userId="S::Victoria.Oswald@ext.ons.gov.uk::262dd292-297c-428b-adb2-f9ce3c6efcc5" providerId="AD"/>
      </p:ext>
    </p:extLst>
  </p:cmAuthor>
  <p:cmAuthor id="2" name="Palmer, Steph" initials="PS" lastIdx="35" clrIdx="1">
    <p:extLst>
      <p:ext uri="{19B8F6BF-5375-455C-9EA6-DF929625EA0E}">
        <p15:presenceInfo xmlns:p15="http://schemas.microsoft.com/office/powerpoint/2012/main" userId="S::steph.palmer@ons.gov.uk::59f36182-79c8-4117-8c22-6f403e7d275a" providerId="AD"/>
      </p:ext>
    </p:extLst>
  </p:cmAuthor>
  <p:cmAuthor id="3" name="Barton, Susan" initials="BS" lastIdx="17" clrIdx="2">
    <p:extLst>
      <p:ext uri="{19B8F6BF-5375-455C-9EA6-DF929625EA0E}">
        <p15:presenceInfo xmlns:p15="http://schemas.microsoft.com/office/powerpoint/2012/main" userId="S::susan.barton@ons.gov.uk::91e3f7c8-beb3-484a-a02a-097bf2cfd17c" providerId="AD"/>
      </p:ext>
    </p:extLst>
  </p:cmAuthor>
  <p:cmAuthor id="4" name="Kendall-Ashton, Jake" initials="KJ" lastIdx="2" clrIdx="3">
    <p:extLst>
      <p:ext uri="{19B8F6BF-5375-455C-9EA6-DF929625EA0E}">
        <p15:presenceInfo xmlns:p15="http://schemas.microsoft.com/office/powerpoint/2012/main" userId="S::Jake.Kendall-Ashton@ons.gov.uk::9c66a47f-4e89-4244-8720-bc9a19207b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7A9E"/>
    <a:srgbClr val="D32F2F"/>
    <a:srgbClr val="E9742C"/>
    <a:srgbClr val="A8BD3A"/>
    <a:srgbClr val="5F7682"/>
    <a:srgbClr val="323132"/>
    <a:srgbClr val="37288B"/>
    <a:srgbClr val="6E2585"/>
    <a:srgbClr val="D2376D"/>
    <a:srgbClr val="B886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96"/>
    <p:restoredTop sz="94475"/>
  </p:normalViewPr>
  <p:slideViewPr>
    <p:cSldViewPr snapToGrid="0" snapToObjects="1">
      <p:cViewPr varScale="1">
        <p:scale>
          <a:sx n="71" d="100"/>
          <a:sy n="71" d="100"/>
        </p:scale>
        <p:origin x="772" y="60"/>
      </p:cViewPr>
      <p:guideLst>
        <p:guide orient="horz" pos="913"/>
        <p:guide pos="52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55" d="100"/>
          <a:sy n="155" d="100"/>
        </p:scale>
        <p:origin x="4504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customXml" Target="../customXml/item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4" dt="2020-08-13T13:20:51.932" idx="2">
    <p:pos x="7680" y="-101"/>
    <p:text>Presume the Welsh version would want a Welsh screengrab of the LA newsletter? If available.</p:text>
    <p:extLst>
      <p:ext uri="{C676402C-5697-4E1C-873F-D02D1690AC5C}">
        <p15:threadingInfo xmlns:p15="http://schemas.microsoft.com/office/powerpoint/2012/main" timeZoneBias="-6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E70A82-15B8-4F23-8C0B-374AAAD59CE0}" type="doc">
      <dgm:prSet loTypeId="urn:microsoft.com/office/officeart/2005/8/layout/chevron1" loCatId="process" qsTypeId="urn:microsoft.com/office/officeart/2005/8/quickstyle/simple1" qsCatId="simple" csTypeId="urn:microsoft.com/office/officeart/2005/8/colors/accent2_3" csCatId="accent2" phldr="1"/>
      <dgm:spPr/>
    </dgm:pt>
    <dgm:pt modelId="{FC9F8903-8DDC-4AD7-B324-E4EB010426AC}">
      <dgm:prSet phldrT="[Text]"/>
      <dgm:spPr/>
      <dgm:t>
        <a:bodyPr/>
        <a:lstStyle/>
        <a:p>
          <a:r>
            <a:rPr lang="en-GB" dirty="0"/>
            <a:t>2019</a:t>
          </a:r>
        </a:p>
      </dgm:t>
    </dgm:pt>
    <dgm:pt modelId="{97C5189C-1DE2-4B20-9F35-BC2F6FF0B180}" type="parTrans" cxnId="{9A115FC3-0203-41D6-830C-8521FCE0BEC0}">
      <dgm:prSet/>
      <dgm:spPr/>
      <dgm:t>
        <a:bodyPr/>
        <a:lstStyle/>
        <a:p>
          <a:endParaRPr lang="en-GB"/>
        </a:p>
      </dgm:t>
    </dgm:pt>
    <dgm:pt modelId="{171DDFF1-B1D0-4B83-B781-33E80568C45B}" type="sibTrans" cxnId="{9A115FC3-0203-41D6-830C-8521FCE0BEC0}">
      <dgm:prSet/>
      <dgm:spPr/>
      <dgm:t>
        <a:bodyPr/>
        <a:lstStyle/>
        <a:p>
          <a:endParaRPr lang="en-GB"/>
        </a:p>
      </dgm:t>
    </dgm:pt>
    <dgm:pt modelId="{E972EF4A-0AAF-4F9B-98F2-E56B0B428116}">
      <dgm:prSet phldrT="[Text]"/>
      <dgm:spPr/>
      <dgm:t>
        <a:bodyPr/>
        <a:lstStyle/>
        <a:p>
          <a:r>
            <a:rPr lang="en-GB" dirty="0"/>
            <a:t>2020</a:t>
          </a:r>
        </a:p>
      </dgm:t>
    </dgm:pt>
    <dgm:pt modelId="{54720A0C-3D3B-4774-9126-A89E923AEEB7}" type="parTrans" cxnId="{054F4C30-4B27-414D-89E8-8B5B91969789}">
      <dgm:prSet/>
      <dgm:spPr/>
      <dgm:t>
        <a:bodyPr/>
        <a:lstStyle/>
        <a:p>
          <a:endParaRPr lang="en-GB"/>
        </a:p>
      </dgm:t>
    </dgm:pt>
    <dgm:pt modelId="{B7AEA63B-F830-4F55-898E-903633009E13}" type="sibTrans" cxnId="{054F4C30-4B27-414D-89E8-8B5B91969789}">
      <dgm:prSet/>
      <dgm:spPr/>
      <dgm:t>
        <a:bodyPr/>
        <a:lstStyle/>
        <a:p>
          <a:endParaRPr lang="en-GB"/>
        </a:p>
      </dgm:t>
    </dgm:pt>
    <dgm:pt modelId="{0805A5A7-A336-4A17-A81E-7087CB4CD302}">
      <dgm:prSet phldrT="[Text]"/>
      <dgm:spPr/>
      <dgm:t>
        <a:bodyPr/>
        <a:lstStyle/>
        <a:p>
          <a:r>
            <a:rPr lang="en-GB" dirty="0"/>
            <a:t>2021</a:t>
          </a:r>
        </a:p>
      </dgm:t>
    </dgm:pt>
    <dgm:pt modelId="{F5515672-BE00-4A67-B36E-6A912BE8B8B9}" type="parTrans" cxnId="{E5AF2C4A-6D26-4370-83D6-0B6A9ED3CE16}">
      <dgm:prSet/>
      <dgm:spPr/>
      <dgm:t>
        <a:bodyPr/>
        <a:lstStyle/>
        <a:p>
          <a:endParaRPr lang="en-GB"/>
        </a:p>
      </dgm:t>
    </dgm:pt>
    <dgm:pt modelId="{9601DE5D-4B97-44A0-85F2-3B9F614C234A}" type="sibTrans" cxnId="{E5AF2C4A-6D26-4370-83D6-0B6A9ED3CE16}">
      <dgm:prSet/>
      <dgm:spPr/>
      <dgm:t>
        <a:bodyPr/>
        <a:lstStyle/>
        <a:p>
          <a:endParaRPr lang="en-GB"/>
        </a:p>
      </dgm:t>
    </dgm:pt>
    <dgm:pt modelId="{AC325DE2-30CE-4333-9E0F-9C4B71180C25}">
      <dgm:prSet/>
      <dgm:spPr/>
      <dgm:t>
        <a:bodyPr/>
        <a:lstStyle/>
        <a:p>
          <a:r>
            <a:rPr lang="nl-NL" dirty="0"/>
            <a:t>2022</a:t>
          </a:r>
          <a:endParaRPr lang="en-GB" dirty="0"/>
        </a:p>
      </dgm:t>
    </dgm:pt>
    <dgm:pt modelId="{EA008694-1DD3-42E9-8633-AC2C07CFF43F}" type="parTrans" cxnId="{5BE521C8-E612-4DAB-9CF7-89136753EFEB}">
      <dgm:prSet/>
      <dgm:spPr/>
      <dgm:t>
        <a:bodyPr/>
        <a:lstStyle/>
        <a:p>
          <a:endParaRPr lang="en-GB"/>
        </a:p>
      </dgm:t>
    </dgm:pt>
    <dgm:pt modelId="{CFC6F85B-BD09-4159-A217-E80EBA543DD1}" type="sibTrans" cxnId="{5BE521C8-E612-4DAB-9CF7-89136753EFEB}">
      <dgm:prSet/>
      <dgm:spPr/>
      <dgm:t>
        <a:bodyPr/>
        <a:lstStyle/>
        <a:p>
          <a:endParaRPr lang="en-GB"/>
        </a:p>
      </dgm:t>
    </dgm:pt>
    <dgm:pt modelId="{02612DE0-ED0C-4328-830A-7360498F9D4D}" type="pres">
      <dgm:prSet presAssocID="{49E70A82-15B8-4F23-8C0B-374AAAD59CE0}" presName="Name0" presStyleCnt="0">
        <dgm:presLayoutVars>
          <dgm:dir/>
          <dgm:animLvl val="lvl"/>
          <dgm:resizeHandles val="exact"/>
        </dgm:presLayoutVars>
      </dgm:prSet>
      <dgm:spPr/>
    </dgm:pt>
    <dgm:pt modelId="{6A7FBC1C-F66F-47C4-BDDF-70EFE4F9742A}" type="pres">
      <dgm:prSet presAssocID="{FC9F8903-8DDC-4AD7-B324-E4EB010426AC}" presName="parTxOnly" presStyleLbl="node1" presStyleIdx="0" presStyleCnt="4" custLinFactNeighborX="25593" custLinFactNeighborY="3414">
        <dgm:presLayoutVars>
          <dgm:chMax val="0"/>
          <dgm:chPref val="0"/>
          <dgm:bulletEnabled val="1"/>
        </dgm:presLayoutVars>
      </dgm:prSet>
      <dgm:spPr/>
    </dgm:pt>
    <dgm:pt modelId="{7F2F50F5-4639-42AB-B4A7-CACF49F00E9B}" type="pres">
      <dgm:prSet presAssocID="{171DDFF1-B1D0-4B83-B781-33E80568C45B}" presName="parTxOnlySpace" presStyleCnt="0"/>
      <dgm:spPr/>
    </dgm:pt>
    <dgm:pt modelId="{784C5816-BA9F-48BE-AA32-3DE719CFE69A}" type="pres">
      <dgm:prSet presAssocID="{E972EF4A-0AAF-4F9B-98F2-E56B0B428116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4ACAFD4-7135-46C9-9574-11FD81B5FBD5}" type="pres">
      <dgm:prSet presAssocID="{B7AEA63B-F830-4F55-898E-903633009E13}" presName="parTxOnlySpace" presStyleCnt="0"/>
      <dgm:spPr/>
    </dgm:pt>
    <dgm:pt modelId="{4F2EF0D5-D59E-42DF-857F-7769B7A41445}" type="pres">
      <dgm:prSet presAssocID="{0805A5A7-A336-4A17-A81E-7087CB4CD302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D740D11-553D-4EDF-B466-AFFD381F92F0}" type="pres">
      <dgm:prSet presAssocID="{9601DE5D-4B97-44A0-85F2-3B9F614C234A}" presName="parTxOnlySpace" presStyleCnt="0"/>
      <dgm:spPr/>
    </dgm:pt>
    <dgm:pt modelId="{B98A271E-6391-4D9C-AFFA-2A7239143C45}" type="pres">
      <dgm:prSet presAssocID="{AC325DE2-30CE-4333-9E0F-9C4B71180C25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054F4C30-4B27-414D-89E8-8B5B91969789}" srcId="{49E70A82-15B8-4F23-8C0B-374AAAD59CE0}" destId="{E972EF4A-0AAF-4F9B-98F2-E56B0B428116}" srcOrd="1" destOrd="0" parTransId="{54720A0C-3D3B-4774-9126-A89E923AEEB7}" sibTransId="{B7AEA63B-F830-4F55-898E-903633009E13}"/>
    <dgm:cxn modelId="{C767BD5C-66AA-41F9-BECB-9D4870DF8E10}" type="presOf" srcId="{AC325DE2-30CE-4333-9E0F-9C4B71180C25}" destId="{B98A271E-6391-4D9C-AFFA-2A7239143C45}" srcOrd="0" destOrd="0" presId="urn:microsoft.com/office/officeart/2005/8/layout/chevron1"/>
    <dgm:cxn modelId="{A67EB543-F91C-4DC9-B0BD-1F54E6A0FFCE}" type="presOf" srcId="{E972EF4A-0AAF-4F9B-98F2-E56B0B428116}" destId="{784C5816-BA9F-48BE-AA32-3DE719CFE69A}" srcOrd="0" destOrd="0" presId="urn:microsoft.com/office/officeart/2005/8/layout/chevron1"/>
    <dgm:cxn modelId="{E5AF2C4A-6D26-4370-83D6-0B6A9ED3CE16}" srcId="{49E70A82-15B8-4F23-8C0B-374AAAD59CE0}" destId="{0805A5A7-A336-4A17-A81E-7087CB4CD302}" srcOrd="2" destOrd="0" parTransId="{F5515672-BE00-4A67-B36E-6A912BE8B8B9}" sibTransId="{9601DE5D-4B97-44A0-85F2-3B9F614C234A}"/>
    <dgm:cxn modelId="{44ED667F-AEB5-4D3A-80EF-490C8299F758}" type="presOf" srcId="{49E70A82-15B8-4F23-8C0B-374AAAD59CE0}" destId="{02612DE0-ED0C-4328-830A-7360498F9D4D}" srcOrd="0" destOrd="0" presId="urn:microsoft.com/office/officeart/2005/8/layout/chevron1"/>
    <dgm:cxn modelId="{95097C9C-7185-481B-9AC4-6488381B468C}" type="presOf" srcId="{FC9F8903-8DDC-4AD7-B324-E4EB010426AC}" destId="{6A7FBC1C-F66F-47C4-BDDF-70EFE4F9742A}" srcOrd="0" destOrd="0" presId="urn:microsoft.com/office/officeart/2005/8/layout/chevron1"/>
    <dgm:cxn modelId="{9A115FC3-0203-41D6-830C-8521FCE0BEC0}" srcId="{49E70A82-15B8-4F23-8C0B-374AAAD59CE0}" destId="{FC9F8903-8DDC-4AD7-B324-E4EB010426AC}" srcOrd="0" destOrd="0" parTransId="{97C5189C-1DE2-4B20-9F35-BC2F6FF0B180}" sibTransId="{171DDFF1-B1D0-4B83-B781-33E80568C45B}"/>
    <dgm:cxn modelId="{5BE521C8-E612-4DAB-9CF7-89136753EFEB}" srcId="{49E70A82-15B8-4F23-8C0B-374AAAD59CE0}" destId="{AC325DE2-30CE-4333-9E0F-9C4B71180C25}" srcOrd="3" destOrd="0" parTransId="{EA008694-1DD3-42E9-8633-AC2C07CFF43F}" sibTransId="{CFC6F85B-BD09-4159-A217-E80EBA543DD1}"/>
    <dgm:cxn modelId="{E0B1FBDA-55F8-4E60-B6AC-D425A36B445F}" type="presOf" srcId="{0805A5A7-A336-4A17-A81E-7087CB4CD302}" destId="{4F2EF0D5-D59E-42DF-857F-7769B7A41445}" srcOrd="0" destOrd="0" presId="urn:microsoft.com/office/officeart/2005/8/layout/chevron1"/>
    <dgm:cxn modelId="{B98AD7B9-C206-4B94-9C15-0AA4D5FA264D}" type="presParOf" srcId="{02612DE0-ED0C-4328-830A-7360498F9D4D}" destId="{6A7FBC1C-F66F-47C4-BDDF-70EFE4F9742A}" srcOrd="0" destOrd="0" presId="urn:microsoft.com/office/officeart/2005/8/layout/chevron1"/>
    <dgm:cxn modelId="{B524CEFF-9F95-4DB1-AF16-5144FC0E5A6F}" type="presParOf" srcId="{02612DE0-ED0C-4328-830A-7360498F9D4D}" destId="{7F2F50F5-4639-42AB-B4A7-CACF49F00E9B}" srcOrd="1" destOrd="0" presId="urn:microsoft.com/office/officeart/2005/8/layout/chevron1"/>
    <dgm:cxn modelId="{FF93BEB2-ECCE-4477-9B44-7A034731D1CB}" type="presParOf" srcId="{02612DE0-ED0C-4328-830A-7360498F9D4D}" destId="{784C5816-BA9F-48BE-AA32-3DE719CFE69A}" srcOrd="2" destOrd="0" presId="urn:microsoft.com/office/officeart/2005/8/layout/chevron1"/>
    <dgm:cxn modelId="{8FA95885-0426-4509-9B01-1E6480998958}" type="presParOf" srcId="{02612DE0-ED0C-4328-830A-7360498F9D4D}" destId="{C4ACAFD4-7135-46C9-9574-11FD81B5FBD5}" srcOrd="3" destOrd="0" presId="urn:microsoft.com/office/officeart/2005/8/layout/chevron1"/>
    <dgm:cxn modelId="{E31A7186-BEAD-43EF-9C2C-3480DC8C6F2C}" type="presParOf" srcId="{02612DE0-ED0C-4328-830A-7360498F9D4D}" destId="{4F2EF0D5-D59E-42DF-857F-7769B7A41445}" srcOrd="4" destOrd="0" presId="urn:microsoft.com/office/officeart/2005/8/layout/chevron1"/>
    <dgm:cxn modelId="{0B767C5D-63DF-465E-948C-6A478D8EB2EB}" type="presParOf" srcId="{02612DE0-ED0C-4328-830A-7360498F9D4D}" destId="{9D740D11-553D-4EDF-B466-AFFD381F92F0}" srcOrd="5" destOrd="0" presId="urn:microsoft.com/office/officeart/2005/8/layout/chevron1"/>
    <dgm:cxn modelId="{77BC3681-842E-4577-BBDD-5D616B203569}" type="presParOf" srcId="{02612DE0-ED0C-4328-830A-7360498F9D4D}" destId="{B98A271E-6391-4D9C-AFFA-2A7239143C45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7FBC1C-F66F-47C4-BDDF-70EFE4F9742A}">
      <dsp:nvSpPr>
        <dsp:cNvPr id="0" name=""/>
        <dsp:cNvSpPr/>
      </dsp:nvSpPr>
      <dsp:spPr>
        <a:xfrm>
          <a:off x="71008" y="348119"/>
          <a:ext cx="2600006" cy="1040002"/>
        </a:xfrm>
        <a:prstGeom prst="chevron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023" tIns="61341" rIns="61341" bIns="61341" numCol="1" spcCol="1270" anchor="ctr" anchorCtr="0">
          <a:noAutofit/>
        </a:bodyPr>
        <a:lstStyle/>
        <a:p>
          <a:pPr marL="0" lvl="0" indent="0" algn="ctr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600" kern="1200" dirty="0"/>
            <a:t>2019</a:t>
          </a:r>
        </a:p>
      </dsp:txBody>
      <dsp:txXfrm>
        <a:off x="591009" y="348119"/>
        <a:ext cx="1560004" cy="1040002"/>
      </dsp:txXfrm>
    </dsp:sp>
    <dsp:sp modelId="{784C5816-BA9F-48BE-AA32-3DE719CFE69A}">
      <dsp:nvSpPr>
        <dsp:cNvPr id="0" name=""/>
        <dsp:cNvSpPr/>
      </dsp:nvSpPr>
      <dsp:spPr>
        <a:xfrm>
          <a:off x="2344472" y="312614"/>
          <a:ext cx="2600006" cy="1040002"/>
        </a:xfrm>
        <a:prstGeom prst="chevron">
          <a:avLst/>
        </a:prstGeom>
        <a:solidFill>
          <a:schemeClr val="accent2">
            <a:shade val="80000"/>
            <a:hueOff val="77332"/>
            <a:satOff val="-14662"/>
            <a:lumOff val="1176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023" tIns="61341" rIns="61341" bIns="61341" numCol="1" spcCol="1270" anchor="ctr" anchorCtr="0">
          <a:noAutofit/>
        </a:bodyPr>
        <a:lstStyle/>
        <a:p>
          <a:pPr marL="0" lvl="0" indent="0" algn="ctr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600" kern="1200" dirty="0"/>
            <a:t>2020</a:t>
          </a:r>
        </a:p>
      </dsp:txBody>
      <dsp:txXfrm>
        <a:off x="2864473" y="312614"/>
        <a:ext cx="1560004" cy="1040002"/>
      </dsp:txXfrm>
    </dsp:sp>
    <dsp:sp modelId="{4F2EF0D5-D59E-42DF-857F-7769B7A41445}">
      <dsp:nvSpPr>
        <dsp:cNvPr id="0" name=""/>
        <dsp:cNvSpPr/>
      </dsp:nvSpPr>
      <dsp:spPr>
        <a:xfrm>
          <a:off x="4684478" y="312614"/>
          <a:ext cx="2600006" cy="1040002"/>
        </a:xfrm>
        <a:prstGeom prst="chevron">
          <a:avLst/>
        </a:prstGeom>
        <a:solidFill>
          <a:schemeClr val="accent2">
            <a:shade val="80000"/>
            <a:hueOff val="154664"/>
            <a:satOff val="-29324"/>
            <a:lumOff val="2352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023" tIns="61341" rIns="61341" bIns="61341" numCol="1" spcCol="1270" anchor="ctr" anchorCtr="0">
          <a:noAutofit/>
        </a:bodyPr>
        <a:lstStyle/>
        <a:p>
          <a:pPr marL="0" lvl="0" indent="0" algn="ctr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600" kern="1200" dirty="0"/>
            <a:t>2021</a:t>
          </a:r>
        </a:p>
      </dsp:txBody>
      <dsp:txXfrm>
        <a:off x="5204479" y="312614"/>
        <a:ext cx="1560004" cy="1040002"/>
      </dsp:txXfrm>
    </dsp:sp>
    <dsp:sp modelId="{B98A271E-6391-4D9C-AFFA-2A7239143C45}">
      <dsp:nvSpPr>
        <dsp:cNvPr id="0" name=""/>
        <dsp:cNvSpPr/>
      </dsp:nvSpPr>
      <dsp:spPr>
        <a:xfrm>
          <a:off x="7024483" y="312614"/>
          <a:ext cx="2600006" cy="1040002"/>
        </a:xfrm>
        <a:prstGeom prst="chevron">
          <a:avLst/>
        </a:prstGeom>
        <a:solidFill>
          <a:schemeClr val="accent2">
            <a:shade val="80000"/>
            <a:hueOff val="231996"/>
            <a:satOff val="-43986"/>
            <a:lumOff val="352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023" tIns="61341" rIns="61341" bIns="61341" numCol="1" spcCol="1270" anchor="ctr" anchorCtr="0">
          <a:noAutofit/>
        </a:bodyPr>
        <a:lstStyle/>
        <a:p>
          <a:pPr marL="0" lvl="0" indent="0" algn="ctr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4600" kern="1200" dirty="0"/>
            <a:t>2022</a:t>
          </a:r>
          <a:endParaRPr lang="en-GB" sz="4600" kern="1200" dirty="0"/>
        </a:p>
      </dsp:txBody>
      <dsp:txXfrm>
        <a:off x="7544484" y="312614"/>
        <a:ext cx="1560004" cy="10400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756CF1-1FCD-E243-925E-A75B8B4E667B}" type="datetimeFigureOut">
              <a:rPr lang="en-US" smtClean="0"/>
              <a:t>9/1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895EDB-6B5D-864C-AC6A-318791A1A9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3151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165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7981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045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1002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95EDB-6B5D-864C-AC6A-318791A1A93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DE6E8645-6894-4370-8150-7999E73CAF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80220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94370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207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8243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389124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71E751A-A3CA-4AA3-8E3D-D684F59880B7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+mn-cs"/>
              </a:rPr>
              <a:pPr marL="0" marR="0" lvl="0" indent="0" algn="r" defTabSz="389124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931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9775" y="3159125"/>
            <a:ext cx="27979688" cy="15740063"/>
          </a:xfrm>
          <a:ln/>
        </p:spPr>
      </p:sp>
      <p:sp>
        <p:nvSpPr>
          <p:cNvPr id="931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28361" y="19947328"/>
            <a:ext cx="21602524" cy="18893203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1940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9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51C97955-2626-40EB-95DD-9322F98AC83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55173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10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93234951-7157-4F79-B656-76F8FE647B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5109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>
          <a:gsLst>
            <a:gs pos="0">
              <a:schemeClr val="accent1"/>
            </a:gs>
            <a:gs pos="100000">
              <a:schemeClr val="tx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BAAC3-A1E9-784F-BE30-C99088DCED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Write your title here</a:t>
            </a:r>
            <a:br>
              <a:rPr lang="en-US" dirty="0"/>
            </a:br>
            <a:r>
              <a:rPr lang="en-US" dirty="0"/>
              <a:t>(in sentence case)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9995A59-A0F2-4F7C-BE8B-99562F3702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7143" y="6250891"/>
            <a:ext cx="1765090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</a:lstStyle>
          <a:p>
            <a:pPr algn="ctr"/>
            <a:endParaRPr lang="en-US" dirty="0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1B7A9330-7EE9-42A6-8141-3FCCEF6342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3807" y="6250890"/>
            <a:ext cx="2008135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2000" b="1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Date Placeholder 15">
            <a:extLst>
              <a:ext uri="{FF2B5EF4-FFF2-40B4-BE49-F238E27FC236}">
                <a16:creationId xmlns:a16="http://schemas.microsoft.com/office/drawing/2014/main" id="{8C5CCF6C-ABD7-49C6-BB8E-9780C7EF57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74858" y="6250892"/>
            <a:ext cx="183145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000" b="1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2EE2EDD-3AA0-4C4E-8243-B937C3C8F4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5025" y="4697145"/>
            <a:ext cx="10521950" cy="82330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lnSpc>
                <a:spcPct val="100000"/>
              </a:lnSpc>
            </a:pP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r Name</a:t>
            </a:r>
            <a:b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b Title | Department</a:t>
            </a:r>
            <a:br>
              <a:rPr lang="en-US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8D50DD-D998-45F4-997F-64EE44A49386}"/>
              </a:ext>
            </a:extLst>
          </p:cNvPr>
          <p:cNvSpPr txBox="1"/>
          <p:nvPr userDrawn="1"/>
        </p:nvSpPr>
        <p:spPr>
          <a:xfrm>
            <a:off x="840521" y="5600697"/>
            <a:ext cx="52466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Census2021 | @Cyfrifiad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55396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Census 2">
    <p:bg>
      <p:bgPr>
        <a:gradFill>
          <a:gsLst>
            <a:gs pos="0">
              <a:schemeClr val="accent1"/>
            </a:gs>
            <a:gs pos="100000">
              <a:schemeClr val="tx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AA1490B-BB3E-0748-BA6A-B85866965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61622BCB-5999-744E-B77D-08F504F71E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5620796-8D76-664C-B761-7F015F0DFF3B}"/>
              </a:ext>
            </a:extLst>
          </p:cNvPr>
          <p:cNvCxnSpPr>
            <a:cxnSpLocks/>
          </p:cNvCxnSpPr>
          <p:nvPr userDrawn="1"/>
        </p:nvCxnSpPr>
        <p:spPr>
          <a:xfrm>
            <a:off x="823943" y="6055339"/>
            <a:ext cx="10548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597CECE-F881-4BDD-88B3-DB04860DCA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sp>
        <p:nvSpPr>
          <p:cNvPr id="16" name="Subtitle 2">
            <a:extLst>
              <a:ext uri="{FF2B5EF4-FFF2-40B4-BE49-F238E27FC236}">
                <a16:creationId xmlns:a16="http://schemas.microsoft.com/office/drawing/2014/main" id="{83E3E5AC-171B-454D-8F4F-323724A7BA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916872"/>
            <a:ext cx="10515600" cy="1655762"/>
          </a:xfrm>
          <a:prstGeom prst="rect">
            <a:avLst/>
          </a:prstGeom>
        </p:spPr>
        <p:txBody>
          <a:bodyPr anchor="t" anchorCtr="1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49529A1-AEEC-45AC-8B2C-5BCEFF1863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872000"/>
            <a:ext cx="10515600" cy="1963310"/>
          </a:xfrm>
          <a:prstGeom prst="rect">
            <a:avLst/>
          </a:prstGeom>
        </p:spPr>
        <p:txBody>
          <a:bodyPr tIns="0" bIns="288000" anchor="b" anchorCtr="1">
            <a:no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slid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012CAD7-3022-41AF-B469-49C32E8720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0058" y="316991"/>
            <a:ext cx="1838762" cy="12574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4C272BC-076C-4426-BB7E-8E33F5E20A5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30000"/>
          </a:blip>
          <a:stretch>
            <a:fillRect/>
          </a:stretch>
        </p:blipFill>
        <p:spPr>
          <a:xfrm>
            <a:off x="9719751" y="-556942"/>
            <a:ext cx="3304384" cy="3296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0F59A05-53DC-41B7-9118-61426C5671A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30000"/>
          </a:blip>
          <a:stretch>
            <a:fillRect/>
          </a:stretch>
        </p:blipFill>
        <p:spPr>
          <a:xfrm>
            <a:off x="11035444" y="2078638"/>
            <a:ext cx="1675800" cy="16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8366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Census 4">
    <p:bg>
      <p:bgPr>
        <a:gradFill>
          <a:gsLst>
            <a:gs pos="0">
              <a:schemeClr val="accent1"/>
            </a:gs>
            <a:gs pos="100000">
              <a:schemeClr val="tx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AA1490B-BB3E-0748-BA6A-B85866965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61622BCB-5999-744E-B77D-08F504F71E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3A9CD3-E6C3-0344-974D-58215B0ABAAA}"/>
              </a:ext>
            </a:extLst>
          </p:cNvPr>
          <p:cNvCxnSpPr>
            <a:cxnSpLocks/>
          </p:cNvCxnSpPr>
          <p:nvPr userDrawn="1"/>
        </p:nvCxnSpPr>
        <p:spPr>
          <a:xfrm>
            <a:off x="823943" y="6055339"/>
            <a:ext cx="10548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99FE0A9-79E0-4A78-8208-451708DCC5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3435CD78-CFAA-4B10-8B04-13EC3876E7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916872"/>
            <a:ext cx="10515600" cy="1655762"/>
          </a:xfrm>
          <a:prstGeom prst="rect">
            <a:avLst/>
          </a:prstGeom>
        </p:spPr>
        <p:txBody>
          <a:bodyPr anchor="t" anchorCtr="1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41BBF5-7FBD-48C5-8D98-01C108DB8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872000"/>
            <a:ext cx="10515600" cy="1963310"/>
          </a:xfrm>
          <a:prstGeom prst="rect">
            <a:avLst/>
          </a:prstGeom>
        </p:spPr>
        <p:txBody>
          <a:bodyPr tIns="0" bIns="288000" anchor="b" anchorCtr="1">
            <a:no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slid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42D6DAD-BE45-4562-A4D3-EFA087DBA12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0058" y="316991"/>
            <a:ext cx="1838762" cy="12574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B09E721-4EC8-4ADC-B3A2-C53F56EA325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30000"/>
          </a:blip>
          <a:stretch>
            <a:fillRect/>
          </a:stretch>
        </p:blipFill>
        <p:spPr>
          <a:xfrm rot="5400000">
            <a:off x="8990470" y="2152663"/>
            <a:ext cx="5622751" cy="16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7490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teal">
    <p:bg>
      <p:bgPr>
        <a:gradFill>
          <a:gsLst>
            <a:gs pos="0">
              <a:schemeClr val="accent1"/>
            </a:gs>
            <a:gs pos="100000">
              <a:schemeClr val="tx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AA1490B-BB3E-0748-BA6A-B85866965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61622BCB-5999-744E-B77D-08F504F71E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BEE2D9E-3E87-ED40-89C2-DBA774F1F211}"/>
              </a:ext>
            </a:extLst>
          </p:cNvPr>
          <p:cNvCxnSpPr>
            <a:cxnSpLocks/>
          </p:cNvCxnSpPr>
          <p:nvPr userDrawn="1"/>
        </p:nvCxnSpPr>
        <p:spPr>
          <a:xfrm>
            <a:off x="823943" y="6055339"/>
            <a:ext cx="10548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87567715-D1B0-4FB4-BA31-7DB4D268A9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916872"/>
            <a:ext cx="10515600" cy="1655762"/>
          </a:xfrm>
          <a:prstGeom prst="rect">
            <a:avLst/>
          </a:prstGeom>
        </p:spPr>
        <p:txBody>
          <a:bodyPr anchor="t" anchorCtr="1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D4EBE6-316D-4081-B779-66984FDD8D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872000"/>
            <a:ext cx="10515600" cy="1963310"/>
          </a:xfrm>
          <a:prstGeom prst="rect">
            <a:avLst/>
          </a:prstGeom>
        </p:spPr>
        <p:txBody>
          <a:bodyPr tIns="0" bIns="288000" anchor="b" anchorCtr="1">
            <a:no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slid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63B3582-B910-4F70-B044-244645F348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660962-968E-421E-9C5B-4F0003721C0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0058" y="316991"/>
            <a:ext cx="1838762" cy="125746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49CAAD7-55FA-4BE8-B8B3-231E3257DC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30000"/>
          </a:blip>
          <a:stretch>
            <a:fillRect/>
          </a:stretch>
        </p:blipFill>
        <p:spPr>
          <a:xfrm rot="5400000">
            <a:off x="8941473" y="2169683"/>
            <a:ext cx="5622751" cy="16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3764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1D3EF3B-1432-514C-B71B-12CE62EFE22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4669254"/>
            <a:ext cx="10515600" cy="1200329"/>
          </a:xfrm>
          <a:prstGeom prst="rect">
            <a:avLst/>
          </a:prstGeom>
        </p:spPr>
        <p:txBody>
          <a:bodyPr vert="horz" lIns="0" tIns="45720" rIns="91440" bIns="45720" rtlCol="0" anchor="b" anchorCtr="0">
            <a:spAutoFit/>
          </a:bodyPr>
          <a:lstStyle>
            <a:lvl1pPr>
              <a:defRPr sz="2400"/>
            </a:lvl1pPr>
          </a:lstStyle>
          <a:p>
            <a:pPr>
              <a:lnSpc>
                <a:spcPct val="100000"/>
              </a:lnSpc>
            </a:pPr>
            <a:r>
              <a:rPr lang="en-US" b="1" dirty="0">
                <a:solidFill>
                  <a:srgbClr val="183E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r Name</a:t>
            </a:r>
            <a:br>
              <a:rPr lang="en-US" b="1" dirty="0">
                <a:solidFill>
                  <a:srgbClr val="183E5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rgbClr val="183E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b Title | Department</a:t>
            </a:r>
            <a:br>
              <a:rPr lang="en-US" dirty="0">
                <a:solidFill>
                  <a:srgbClr val="183E5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rgbClr val="183E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Twitter-handle</a:t>
            </a:r>
          </a:p>
        </p:txBody>
      </p:sp>
      <p:sp>
        <p:nvSpPr>
          <p:cNvPr id="24" name="Date Placeholder 15">
            <a:extLst>
              <a:ext uri="{FF2B5EF4-FFF2-40B4-BE49-F238E27FC236}">
                <a16:creationId xmlns:a16="http://schemas.microsoft.com/office/drawing/2014/main" id="{DFB003DF-C24D-A044-83E5-7964CE1007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250892"/>
            <a:ext cx="2743200" cy="365125"/>
          </a:xfrm>
          <a:prstGeom prst="rect">
            <a:avLst/>
          </a:prstGeom>
        </p:spPr>
        <p:txBody>
          <a:bodyPr vert="horz" lIns="0" tIns="45720" rIns="90000" bIns="45720" rtlCol="0" anchor="ctr"/>
          <a:lstStyle>
            <a:lvl1pPr algn="l">
              <a:defRPr sz="2000" b="1">
                <a:solidFill>
                  <a:srgbClr val="003C57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3C8DC0-54A4-A146-A12C-27ECC577E9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3C57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1" name="Footer Placeholder 13">
            <a:extLst>
              <a:ext uri="{FF2B5EF4-FFF2-40B4-BE49-F238E27FC236}">
                <a16:creationId xmlns:a16="http://schemas.microsoft.com/office/drawing/2014/main" id="{BE2F4506-BEEA-784B-B604-6F02F963F9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0000" tIns="45720" rIns="0" bIns="45720" rtlCol="0" anchor="t" anchorCtr="0"/>
          <a:lstStyle>
            <a:lvl1pPr algn="r">
              <a:defRPr sz="2000" b="1">
                <a:solidFill>
                  <a:srgbClr val="003C57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0BAAC3-A1E9-784F-BE30-C99088DCED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Write your title here</a:t>
            </a:r>
            <a:br>
              <a:rPr lang="en-US" dirty="0"/>
            </a:br>
            <a:r>
              <a:rPr lang="en-US" dirty="0"/>
              <a:t>(in sentence case)</a:t>
            </a:r>
          </a:p>
        </p:txBody>
      </p:sp>
    </p:spTree>
    <p:extLst>
      <p:ext uri="{BB962C8B-B14F-4D97-AF65-F5344CB8AC3E}">
        <p14:creationId xmlns:p14="http://schemas.microsoft.com/office/powerpoint/2010/main" val="4453495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column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AB7C50D-A92E-F542-A579-D6ACCE3E0F84}"/>
              </a:ext>
            </a:extLst>
          </p:cNvPr>
          <p:cNvSpPr/>
          <p:nvPr userDrawn="1"/>
        </p:nvSpPr>
        <p:spPr>
          <a:xfrm>
            <a:off x="0" y="6037942"/>
            <a:ext cx="12192000" cy="820058"/>
          </a:xfrm>
          <a:prstGeom prst="rect">
            <a:avLst/>
          </a:prstGeom>
          <a:solidFill>
            <a:srgbClr val="18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470A4C7-A3A2-8C48-94D5-E7589555BBE3}"/>
              </a:ext>
            </a:extLst>
          </p:cNvPr>
          <p:cNvSpPr/>
          <p:nvPr/>
        </p:nvSpPr>
        <p:spPr>
          <a:xfrm>
            <a:off x="0" y="6037942"/>
            <a:ext cx="12192000" cy="82005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tx2"/>
              </a:gs>
            </a:gsLst>
            <a:lin ang="16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199" y="1960312"/>
            <a:ext cx="10533743" cy="7571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your heading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2916666"/>
            <a:ext cx="10515600" cy="2845291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ingle colum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AB8A9106-B24D-064D-974C-C8C4B2C84B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C4B6832-9A04-854F-9075-DF58CE992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A5D4C1C-84E1-48C5-8B67-B3D2D400E5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35A0AD0-EB1D-4873-AB9B-66EB2DB8255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6684" y="317207"/>
            <a:ext cx="1838762" cy="125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2481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ingle column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AB7C50D-A92E-F542-A579-D6ACCE3E0F84}"/>
              </a:ext>
            </a:extLst>
          </p:cNvPr>
          <p:cNvSpPr/>
          <p:nvPr userDrawn="1"/>
        </p:nvSpPr>
        <p:spPr>
          <a:xfrm>
            <a:off x="0" y="6037942"/>
            <a:ext cx="12192000" cy="820058"/>
          </a:xfrm>
          <a:prstGeom prst="rect">
            <a:avLst/>
          </a:prstGeom>
          <a:solidFill>
            <a:srgbClr val="18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470A4C7-A3A2-8C48-94D5-E7589555BBE3}"/>
              </a:ext>
            </a:extLst>
          </p:cNvPr>
          <p:cNvSpPr/>
          <p:nvPr/>
        </p:nvSpPr>
        <p:spPr>
          <a:xfrm>
            <a:off x="0" y="6037942"/>
            <a:ext cx="12192000" cy="8200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738338"/>
            <a:ext cx="10533743" cy="7571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your heading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837113"/>
            <a:ext cx="10515600" cy="3798915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ingle colum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AB8A9106-B24D-064D-974C-C8C4B2C84B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C4B6832-9A04-854F-9075-DF58CE992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A5D4C1C-84E1-48C5-8B67-B3D2D400E5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0001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75BE5F0-67EC-0641-9E8B-7BC2DE4910BB}"/>
              </a:ext>
            </a:extLst>
          </p:cNvPr>
          <p:cNvSpPr/>
          <p:nvPr userDrawn="1"/>
        </p:nvSpPr>
        <p:spPr>
          <a:xfrm>
            <a:off x="0" y="6037942"/>
            <a:ext cx="12192000" cy="820058"/>
          </a:xfrm>
          <a:prstGeom prst="rect">
            <a:avLst/>
          </a:prstGeom>
          <a:solidFill>
            <a:srgbClr val="18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5632E3-E91E-8442-8ABA-C41030399038}"/>
              </a:ext>
            </a:extLst>
          </p:cNvPr>
          <p:cNvSpPr/>
          <p:nvPr/>
        </p:nvSpPr>
        <p:spPr>
          <a:xfrm>
            <a:off x="0" y="6037942"/>
            <a:ext cx="12192000" cy="8200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2924983"/>
            <a:ext cx="5180400" cy="2066207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olumn o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2924983"/>
            <a:ext cx="5181600" cy="2066207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olumn two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D913410-9DC7-834A-B330-976E80A56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5" name="Footer Placeholder 13">
            <a:extLst>
              <a:ext uri="{FF2B5EF4-FFF2-40B4-BE49-F238E27FC236}">
                <a16:creationId xmlns:a16="http://schemas.microsoft.com/office/drawing/2014/main" id="{EA701F44-73AD-C64B-8322-8400CB324E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7970B2D-229D-4445-AB37-AA075DAD41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45DA920-F700-4C2D-8596-E293D93C822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6684" y="317207"/>
            <a:ext cx="1838762" cy="1257035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20160216-49C9-4071-A334-F10993CC66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1960312"/>
            <a:ext cx="10533743" cy="7571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your heading here</a:t>
            </a:r>
          </a:p>
        </p:txBody>
      </p:sp>
    </p:spTree>
    <p:extLst>
      <p:ext uri="{BB962C8B-B14F-4D97-AF65-F5344CB8AC3E}">
        <p14:creationId xmlns:p14="http://schemas.microsoft.com/office/powerpoint/2010/main" val="1175771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lumn text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75BE5F0-67EC-0641-9E8B-7BC2DE4910BB}"/>
              </a:ext>
            </a:extLst>
          </p:cNvPr>
          <p:cNvSpPr/>
          <p:nvPr userDrawn="1"/>
        </p:nvSpPr>
        <p:spPr>
          <a:xfrm>
            <a:off x="0" y="6037942"/>
            <a:ext cx="12192000" cy="820058"/>
          </a:xfrm>
          <a:prstGeom prst="rect">
            <a:avLst/>
          </a:prstGeom>
          <a:solidFill>
            <a:srgbClr val="18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5632E3-E91E-8442-8ABA-C41030399038}"/>
              </a:ext>
            </a:extLst>
          </p:cNvPr>
          <p:cNvSpPr/>
          <p:nvPr/>
        </p:nvSpPr>
        <p:spPr>
          <a:xfrm>
            <a:off x="0" y="6037942"/>
            <a:ext cx="12192000" cy="8200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768167"/>
            <a:ext cx="5180400" cy="3892799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olumn o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768167"/>
            <a:ext cx="5181600" cy="3892799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olumn two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D913410-9DC7-834A-B330-976E80A56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5" name="Footer Placeholder 13">
            <a:extLst>
              <a:ext uri="{FF2B5EF4-FFF2-40B4-BE49-F238E27FC236}">
                <a16:creationId xmlns:a16="http://schemas.microsoft.com/office/drawing/2014/main" id="{EA701F44-73AD-C64B-8322-8400CB324E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7970B2D-229D-4445-AB37-AA075DAD41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A4267F49-50F8-48E7-A763-45CA94234C5A}"/>
              </a:ext>
            </a:extLst>
          </p:cNvPr>
          <p:cNvSpPr txBox="1">
            <a:spLocks/>
          </p:cNvSpPr>
          <p:nvPr userDrawn="1"/>
        </p:nvSpPr>
        <p:spPr>
          <a:xfrm>
            <a:off x="838200" y="738338"/>
            <a:ext cx="10533743" cy="757130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dd your heading here</a:t>
            </a:r>
          </a:p>
        </p:txBody>
      </p:sp>
    </p:spTree>
    <p:extLst>
      <p:ext uri="{BB962C8B-B14F-4D97-AF65-F5344CB8AC3E}">
        <p14:creationId xmlns:p14="http://schemas.microsoft.com/office/powerpoint/2010/main" val="4098989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75BE5F0-67EC-0641-9E8B-7BC2DE4910BB}"/>
              </a:ext>
            </a:extLst>
          </p:cNvPr>
          <p:cNvSpPr/>
          <p:nvPr userDrawn="1"/>
        </p:nvSpPr>
        <p:spPr>
          <a:xfrm>
            <a:off x="0" y="6037942"/>
            <a:ext cx="12192000" cy="820058"/>
          </a:xfrm>
          <a:prstGeom prst="rect">
            <a:avLst/>
          </a:prstGeom>
          <a:solidFill>
            <a:srgbClr val="18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5632E3-E91E-8442-8ABA-C41030399038}"/>
              </a:ext>
            </a:extLst>
          </p:cNvPr>
          <p:cNvSpPr/>
          <p:nvPr/>
        </p:nvSpPr>
        <p:spPr>
          <a:xfrm>
            <a:off x="0" y="6037942"/>
            <a:ext cx="12192000" cy="8200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D913410-9DC7-834A-B330-976E80A56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5" name="Footer Placeholder 13">
            <a:extLst>
              <a:ext uri="{FF2B5EF4-FFF2-40B4-BE49-F238E27FC236}">
                <a16:creationId xmlns:a16="http://schemas.microsoft.com/office/drawing/2014/main" id="{EA701F44-73AD-C64B-8322-8400CB324E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E4E2FF2-096C-C349-8B44-CFA5388E95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053244"/>
            <a:ext cx="10515600" cy="3644170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Add your chart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484BC3-7F7A-4844-A067-189620608A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66DC4AF-FE5C-4089-9F98-2E848EE274F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6684" y="317207"/>
            <a:ext cx="1838762" cy="125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5983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75BE5F0-67EC-0641-9E8B-7BC2DE4910BB}"/>
              </a:ext>
            </a:extLst>
          </p:cNvPr>
          <p:cNvSpPr/>
          <p:nvPr userDrawn="1"/>
        </p:nvSpPr>
        <p:spPr>
          <a:xfrm>
            <a:off x="0" y="6037942"/>
            <a:ext cx="12192000" cy="820058"/>
          </a:xfrm>
          <a:prstGeom prst="rect">
            <a:avLst/>
          </a:prstGeom>
          <a:solidFill>
            <a:srgbClr val="18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5632E3-E91E-8442-8ABA-C41030399038}"/>
              </a:ext>
            </a:extLst>
          </p:cNvPr>
          <p:cNvSpPr/>
          <p:nvPr/>
        </p:nvSpPr>
        <p:spPr>
          <a:xfrm>
            <a:off x="0" y="6037942"/>
            <a:ext cx="12192000" cy="8200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D913410-9DC7-834A-B330-976E80A56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5" name="Footer Placeholder 13">
            <a:extLst>
              <a:ext uri="{FF2B5EF4-FFF2-40B4-BE49-F238E27FC236}">
                <a16:creationId xmlns:a16="http://schemas.microsoft.com/office/drawing/2014/main" id="{EA701F44-73AD-C64B-8322-8400CB324E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E4E2FF2-096C-C349-8B44-CFA5388E95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748145"/>
            <a:ext cx="10515600" cy="4949269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Add your chart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484BC3-7F7A-4844-A067-189620608A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7349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slide">
    <p:bg>
      <p:bgPr>
        <a:blipFill dpi="0" rotWithShape="1">
          <a:blip r:embed="rId2">
            <a:lum/>
          </a:blip>
          <a:srcRect/>
          <a:stretch>
            <a:fillRect t="-14000" b="-1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14DE38-8C4D-6F43-8595-E82C3F754B7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>
                  <a:alpha val="60000"/>
                </a:schemeClr>
              </a:gs>
            </a:gsLst>
            <a:lin ang="180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AA1490B-BB3E-0748-BA6A-B85866965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61622BCB-5999-744E-B77D-08F504F71E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wrap="square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E0A9FDF-9B76-F147-89B2-16C44BBC7C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179366"/>
            <a:ext cx="10515600" cy="1173873"/>
          </a:xfrm>
          <a:prstGeom prst="rect">
            <a:avLst/>
          </a:prstGeom>
        </p:spPr>
        <p:txBody>
          <a:bodyPr anchor="t" anchorCtr="1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C756F59-E195-5649-BC25-22C062D42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648743"/>
            <a:ext cx="10515600" cy="2430893"/>
          </a:xfrm>
          <a:prstGeom prst="rect">
            <a:avLst/>
          </a:prstGeom>
        </p:spPr>
        <p:txBody>
          <a:bodyPr bIns="288000" anchor="b" anchorCtr="1">
            <a:noAutofit/>
          </a:bodyPr>
          <a:lstStyle>
            <a:lvl1pPr algn="ctr">
              <a:defRPr sz="720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Image slid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7A17917-5AA2-9546-83BC-34444E3C1470}"/>
              </a:ext>
            </a:extLst>
          </p:cNvPr>
          <p:cNvCxnSpPr>
            <a:cxnSpLocks/>
          </p:cNvCxnSpPr>
          <p:nvPr userDrawn="1"/>
        </p:nvCxnSpPr>
        <p:spPr>
          <a:xfrm>
            <a:off x="823943" y="6055339"/>
            <a:ext cx="10548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283EB60-53C8-4DDE-9F91-8A5863A719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54B4000-8181-4522-99B0-FF0D4A11BDB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0058" y="316991"/>
            <a:ext cx="1838762" cy="125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1297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Census 1">
    <p:bg>
      <p:bgPr>
        <a:gradFill>
          <a:gsLst>
            <a:gs pos="0">
              <a:schemeClr val="accent1"/>
            </a:gs>
            <a:gs pos="100000">
              <a:schemeClr val="tx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AA1490B-BB3E-0748-BA6A-B85866965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61622BCB-5999-744E-B77D-08F504F71E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E0A9FDF-9B76-F147-89B2-16C44BBC7C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916872"/>
            <a:ext cx="10515600" cy="1655762"/>
          </a:xfrm>
          <a:prstGeom prst="rect">
            <a:avLst/>
          </a:prstGeom>
        </p:spPr>
        <p:txBody>
          <a:bodyPr anchor="t" anchorCtr="1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C756F59-E195-5649-BC25-22C062D42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872000"/>
            <a:ext cx="10515600" cy="1963310"/>
          </a:xfrm>
          <a:prstGeom prst="rect">
            <a:avLst/>
          </a:prstGeom>
        </p:spPr>
        <p:txBody>
          <a:bodyPr tIns="0" bIns="288000" anchor="b" anchorCtr="1">
            <a:no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slid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7A17917-5AA2-9546-83BC-34444E3C1470}"/>
              </a:ext>
            </a:extLst>
          </p:cNvPr>
          <p:cNvCxnSpPr>
            <a:cxnSpLocks/>
          </p:cNvCxnSpPr>
          <p:nvPr userDrawn="1"/>
        </p:nvCxnSpPr>
        <p:spPr>
          <a:xfrm>
            <a:off x="823943" y="6055339"/>
            <a:ext cx="10548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022972A0-A505-40F6-9F6D-FE546F3289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1837EFD-26DB-456A-9E61-7469754076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0058" y="316991"/>
            <a:ext cx="1838762" cy="12574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A67A5E1-4FC6-4085-A966-D19600AED2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30000"/>
          </a:blip>
          <a:stretch>
            <a:fillRect/>
          </a:stretch>
        </p:blipFill>
        <p:spPr>
          <a:xfrm>
            <a:off x="9640992" y="-794121"/>
            <a:ext cx="3656066" cy="364777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F8AD6C3-7078-4D90-B70B-D7221BF7A64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30000"/>
          </a:blip>
          <a:stretch>
            <a:fillRect/>
          </a:stretch>
        </p:blipFill>
        <p:spPr>
          <a:xfrm>
            <a:off x="11018820" y="2099217"/>
            <a:ext cx="1675800" cy="16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784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/>
            </a:gs>
            <a:gs pos="100000">
              <a:schemeClr val="tx2"/>
            </a:gs>
          </a:gsLst>
          <a:lin ang="180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48F094D-06E7-4D4C-A30E-6245801E4D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7143" y="6250891"/>
            <a:ext cx="1765090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</a:lstStyle>
          <a:p>
            <a:pPr algn="ctr"/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2947E464-F91B-FD47-B97A-E5129B4544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3807" y="6250890"/>
            <a:ext cx="2008135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2000" b="1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C57F1779-22FA-E74D-A68A-DE59AC0306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74858" y="6250892"/>
            <a:ext cx="2183142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000" b="1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C7606C98-43DA-624E-A126-318E4E297157}"/>
              </a:ext>
            </a:extLst>
          </p:cNvPr>
          <p:cNvSpPr txBox="1">
            <a:spLocks/>
          </p:cNvSpPr>
          <p:nvPr userDrawn="1"/>
        </p:nvSpPr>
        <p:spPr>
          <a:xfrm>
            <a:off x="838200" y="714371"/>
            <a:ext cx="6691713" cy="383284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 baseline="0">
                <a:solidFill>
                  <a:srgbClr val="003C57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4800" dirty="0">
              <a:solidFill>
                <a:srgbClr val="183E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E5DCB11-47E3-BC4E-87BE-ED66A7AC92CD}"/>
              </a:ext>
            </a:extLst>
          </p:cNvPr>
          <p:cNvCxnSpPr>
            <a:cxnSpLocks/>
          </p:cNvCxnSpPr>
          <p:nvPr userDrawn="1"/>
        </p:nvCxnSpPr>
        <p:spPr>
          <a:xfrm>
            <a:off x="823943" y="6055339"/>
            <a:ext cx="10548000" cy="0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4">
            <a:extLst>
              <a:ext uri="{FF2B5EF4-FFF2-40B4-BE49-F238E27FC236}">
                <a16:creationId xmlns:a16="http://schemas.microsoft.com/office/drawing/2014/main" id="{B695BB35-B7F9-BE46-A43E-B9B750880AE4}"/>
              </a:ext>
            </a:extLst>
          </p:cNvPr>
          <p:cNvSpPr txBox="1">
            <a:spLocks/>
          </p:cNvSpPr>
          <p:nvPr userDrawn="1"/>
        </p:nvSpPr>
        <p:spPr>
          <a:xfrm>
            <a:off x="838200" y="644843"/>
            <a:ext cx="7052953" cy="349060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baseline="0">
                <a:solidFill>
                  <a:srgbClr val="003C57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4D2E5A76-65BE-0B4A-9E47-4BFC8F8BB5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521" y="2160855"/>
            <a:ext cx="6910357" cy="2536290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 dirty="0"/>
              <a:t>Write your title here</a:t>
            </a:r>
            <a:br>
              <a:rPr lang="en-US" dirty="0"/>
            </a:br>
            <a:r>
              <a:rPr lang="en-US" dirty="0"/>
              <a:t>(in sentence case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13DABE1-4509-4CD7-8258-6B95827C0B03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43CEAC-53E4-4C0A-BE33-84B5FC4E4E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6992" y="4704424"/>
            <a:ext cx="10515600" cy="7845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resenter Name</a:t>
            </a:r>
            <a:b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Job Title | Depart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45FBCF0-1697-4369-B7A6-9B37411DAD5A}"/>
              </a:ext>
            </a:extLst>
          </p:cNvPr>
          <p:cNvSpPr txBox="1"/>
          <p:nvPr userDrawn="1"/>
        </p:nvSpPr>
        <p:spPr>
          <a:xfrm>
            <a:off x="840521" y="5600697"/>
            <a:ext cx="52466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Census2021 | @Cyfrifiad2021</a:t>
            </a:r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8B88265-2D67-4B40-8325-DFE320B723FD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alphaModFix amt="30000"/>
          </a:blip>
          <a:stretch>
            <a:fillRect/>
          </a:stretch>
        </p:blipFill>
        <p:spPr>
          <a:xfrm rot="5400000">
            <a:off x="8942333" y="2124799"/>
            <a:ext cx="5622751" cy="1672000"/>
          </a:xfrm>
          <a:prstGeom prst="rect">
            <a:avLst/>
          </a:prstGeom>
        </p:spPr>
      </p:pic>
      <p:pic>
        <p:nvPicPr>
          <p:cNvPr id="6" name="Picture 5" descr="A picture containing plate, drawing&#10;&#10;Description automatically generated">
            <a:extLst>
              <a:ext uri="{FF2B5EF4-FFF2-40B4-BE49-F238E27FC236}">
                <a16:creationId xmlns:a16="http://schemas.microsoft.com/office/drawing/2014/main" id="{A8CA127F-990B-4166-AFEC-A25E4E6396F5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794684" y="406392"/>
            <a:ext cx="1987862" cy="1401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910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88" r:id="rId3"/>
    <p:sldLayoutId id="2147483673" r:id="rId4"/>
    <p:sldLayoutId id="2147483689" r:id="rId5"/>
    <p:sldLayoutId id="2147483686" r:id="rId6"/>
    <p:sldLayoutId id="2147483690" r:id="rId7"/>
    <p:sldLayoutId id="2147483671" r:id="rId8"/>
    <p:sldLayoutId id="2147483687" r:id="rId9"/>
    <p:sldLayoutId id="2147483674" r:id="rId10"/>
    <p:sldLayoutId id="2147483675" r:id="rId11"/>
    <p:sldLayoutId id="2147483677" r:id="rId12"/>
    <p:sldLayoutId id="214748369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bg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hashtag/Census2021?src=hash" TargetMode="External"/><Relationship Id="rId7" Type="http://schemas.openxmlformats.org/officeDocument/2006/relationships/image" Target="../media/image32.emf"/><Relationship Id="rId2" Type="http://schemas.openxmlformats.org/officeDocument/2006/relationships/hyperlink" Target="http://www.cyfrifiad.gov.uk/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hyperlink" Target="https://twitter.com/Cyfrifiad2021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3.emf"/><Relationship Id="rId4" Type="http://schemas.openxmlformats.org/officeDocument/2006/relationships/image" Target="../media/image2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emf"/><Relationship Id="rId5" Type="http://schemas.openxmlformats.org/officeDocument/2006/relationships/image" Target="../media/image26.emf"/><Relationship Id="rId4" Type="http://schemas.openxmlformats.org/officeDocument/2006/relationships/image" Target="../media/image25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diagramLayout" Target="../diagrams/layou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diagramData" Target="../diagrams/data1.xml"/><Relationship Id="rId2" Type="http://schemas.openxmlformats.org/officeDocument/2006/relationships/tags" Target="../tags/tag2.xml"/><Relationship Id="rId16" Type="http://schemas.microsoft.com/office/2007/relationships/diagramDrawing" Target="../diagrams/drawing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5.xml"/><Relationship Id="rId15" Type="http://schemas.openxmlformats.org/officeDocument/2006/relationships/diagramColors" Target="../diagrams/colors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8F6C910-4BB2-4DA3-8249-F91B27F2DF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575" y="2880521"/>
            <a:ext cx="9302546" cy="3107903"/>
          </a:xfrm>
        </p:spPr>
        <p:txBody>
          <a:bodyPr>
            <a:normAutofit fontScale="90000"/>
          </a:bodyPr>
          <a:lstStyle/>
          <a:p>
            <a:r>
              <a:rPr lang="cy-GB" dirty="0"/>
              <a:t>Gwybodaeth i Awdurdodau Lleol</a:t>
            </a:r>
            <a:br>
              <a:rPr lang="cy-GB" dirty="0"/>
            </a:br>
            <a:br>
              <a:rPr lang="en-GB" dirty="0"/>
            </a:br>
            <a:br>
              <a:rPr lang="en-GB" dirty="0"/>
            </a:br>
            <a:r>
              <a:rPr lang="cy-GB" sz="20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Mae'r cyflwyniad hwn wedi cael ei ddarparu i awdurdodau lleol er mwyn hyrwyddo'r cyfrifiad yn fewnol</a:t>
            </a:r>
            <a:endParaRPr lang="en-GB" sz="32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268DCF-7FD1-49DD-979E-16B315290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3496" y="6250891"/>
            <a:ext cx="1765090" cy="365125"/>
          </a:xfrm>
        </p:spPr>
        <p:txBody>
          <a:bodyPr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7910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3FFD1-3140-4B7D-B5CC-203777A44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877" y="241984"/>
            <a:ext cx="7155054" cy="2562365"/>
          </a:xfrm>
        </p:spPr>
        <p:txBody>
          <a:bodyPr/>
          <a:lstStyle/>
          <a:p>
            <a:r>
              <a:rPr lang="cy-GB" dirty="0">
                <a:solidFill>
                  <a:schemeClr val="tx2"/>
                </a:solidFill>
              </a:rPr>
              <a:t>Byddwn yn rhoi’r wybodaeth ddiweddaraf i chi</a:t>
            </a:r>
            <a:br>
              <a:rPr lang="en-GB" dirty="0"/>
            </a:b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2438C6-9E17-404A-92B5-32FD5AD45B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38" y="1902656"/>
            <a:ext cx="7392743" cy="3994407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endParaRPr lang="en-GB" sz="2800" dirty="0"/>
          </a:p>
          <a:p>
            <a:r>
              <a:rPr lang="cy-GB" dirty="0"/>
              <a:t>Drwy gylchlythyrau rheolaidd a fydd yn cynnwys:</a:t>
            </a:r>
            <a:endParaRPr lang="en-GB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dirty="0"/>
              <a:t>materion perthnasol</a:t>
            </a:r>
            <a:endParaRPr lang="en-GB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dirty="0"/>
              <a:t>gwybodaeth amserol</a:t>
            </a:r>
            <a:endParaRPr lang="en-GB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dirty="0"/>
              <a:t>help a chefnogaeth</a:t>
            </a:r>
            <a:endParaRPr lang="en-GB" sz="2800" dirty="0"/>
          </a:p>
          <a:p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F13DAB3-2169-442A-803C-22D73762862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2170"/>
          <a:stretch/>
        </p:blipFill>
        <p:spPr>
          <a:xfrm>
            <a:off x="8304783" y="-160310"/>
            <a:ext cx="3887217" cy="5996098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A30DF3C-5033-4D35-BBF8-07CEDC41FF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6053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DBF05B-775F-476B-BFA5-7C9C99197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8338"/>
            <a:ext cx="10533743" cy="757130"/>
          </a:xfrm>
        </p:spPr>
        <p:txBody>
          <a:bodyPr/>
          <a:lstStyle/>
          <a:p>
            <a:r>
              <a:rPr lang="cy-GB" dirty="0">
                <a:solidFill>
                  <a:schemeClr val="tx2"/>
                </a:solidFill>
              </a:rPr>
              <a:t>Beth sy'n digwydd nesaf?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4AA6C9-09AB-4ACE-8AB8-DD512F3B86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37113"/>
            <a:ext cx="10201276" cy="3798915"/>
          </a:xfrm>
        </p:spPr>
        <p:txBody>
          <a:bodyPr>
            <a:normAutofit fontScale="70000" lnSpcReduction="20000"/>
          </a:bodyPr>
          <a:lstStyle/>
          <a:p>
            <a:pPr marL="571500" lvl="0" indent="-571500">
              <a:buFont typeface="Arial" panose="020B0604020202020204" pitchFamily="34" charset="0"/>
              <a:buChar char="•"/>
            </a:pPr>
            <a:r>
              <a:rPr lang="cy-GB" sz="3700" dirty="0"/>
              <a:t>Bydd eich rheolwr ymgysylltu'r cyfrifiad lleol yn eich cefnogi. </a:t>
            </a:r>
            <a:endParaRPr lang="en-GB" sz="3700" dirty="0"/>
          </a:p>
          <a:p>
            <a:pPr marL="571500" lvl="0" indent="-571500">
              <a:buFont typeface="Arial" panose="020B0604020202020204" pitchFamily="34" charset="0"/>
              <a:buChar char="•"/>
            </a:pPr>
            <a:r>
              <a:rPr lang="cy-GB" sz="3700" dirty="0"/>
              <a:t>Byddwn yn recriwtio pobl leol i weithio ar y cyfrifiad – gallai hyn gynnwys pobl sy'n gweithio i'r awdurdod lleol.</a:t>
            </a:r>
            <a:endParaRPr lang="en-GB" sz="3700" dirty="0"/>
          </a:p>
          <a:p>
            <a:pPr marL="571500" lvl="0" indent="-571500">
              <a:buFont typeface="Arial" panose="020B0604020202020204" pitchFamily="34" charset="0"/>
              <a:buChar char="•"/>
            </a:pPr>
            <a:r>
              <a:rPr lang="cy-GB" sz="3700" dirty="0"/>
              <a:t>Bydd pob cartref yn cael gwahoddiad i lenwi holiadur y cyfrifiad gan ddefnyddio cod mynediad y cartref, ynghyd â gwybodaeth i'w helpu i gymryd rhan ar lein.</a:t>
            </a:r>
            <a:endParaRPr lang="en-GB" sz="3700" dirty="0"/>
          </a:p>
          <a:p>
            <a:pPr marL="571500" lvl="0" indent="-571500">
              <a:buFont typeface="Arial" panose="020B0604020202020204" pitchFamily="34" charset="0"/>
              <a:buChar char="•"/>
            </a:pPr>
            <a:r>
              <a:rPr lang="cy-GB" sz="3700" dirty="0"/>
              <a:t>Byddwn yn cynnal ymgyrch yn y cyfryngau er mwyn annog pobl i gymryd rhan.</a:t>
            </a:r>
            <a:endParaRPr lang="en-GB" sz="3700" dirty="0"/>
          </a:p>
          <a:p>
            <a:pPr marL="571500" lvl="0" indent="-571500">
              <a:buFont typeface="Arial" panose="020B0604020202020204" pitchFamily="34" charset="0"/>
              <a:buChar char="•"/>
            </a:pPr>
            <a:r>
              <a:rPr lang="cy-GB" sz="3700" dirty="0"/>
              <a:t>Byddwn yn gweithio yn y gymuned i gefnogi'r bobl hynny y mae angen help arnynt, gan gynnwys help i fynd ar lein. </a:t>
            </a:r>
            <a:endParaRPr lang="en-GB" sz="37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F006C3-EB62-463F-8860-7F5D28B13A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7993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083AF7-1F2D-425B-A683-50B079BD3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8338"/>
            <a:ext cx="10533743" cy="1421928"/>
          </a:xfrm>
        </p:spPr>
        <p:txBody>
          <a:bodyPr/>
          <a:lstStyle/>
          <a:p>
            <a:r>
              <a:rPr lang="cy-GB" dirty="0">
                <a:solidFill>
                  <a:schemeClr val="tx2"/>
                </a:solidFill>
              </a:rPr>
              <a:t>Ni allwn ei wneud hebddoch chi</a:t>
            </a:r>
            <a:br>
              <a:rPr lang="en-GB" dirty="0"/>
            </a:b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223DB2-8DB3-45B7-8867-B32EC02585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37113"/>
            <a:ext cx="9174018" cy="3798915"/>
          </a:xfrm>
        </p:spPr>
        <p:txBody>
          <a:bodyPr>
            <a:normAutofit fontScale="92500" lnSpcReduction="10000"/>
          </a:bodyPr>
          <a:lstStyle/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2800" dirty="0"/>
              <a:t>Cynhelir y cyfrifiad unwaith bob 10 mlynedd. Mae'n rhoi darlun i ni o'r holl bobl a chartrefi yng Nghymru a Lloegr.</a:t>
            </a:r>
            <a:endParaRPr lang="en-GB" sz="28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2800" dirty="0"/>
              <a:t>Mae'r wybodaeth rydym ni'n ei chasglu yn hanfodol er mwyn sicrhau bod eich gwaith mor effeithiol â phosibl.</a:t>
            </a:r>
            <a:endParaRPr lang="en-GB" sz="28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2800" dirty="0"/>
              <a:t>Mae eich gwybodaeth leol a'ch arbenigedd yn hanfodol er mwyn sicrhau bod y cyfrifiad yn llwyddiannus yn eich ardal. Mae'n helpu i sicrhau bod gwybodaeth o'r cyfrifiad yn parhau i wella, diogelu ac achub bywydau. </a:t>
            </a:r>
            <a:endParaRPr lang="en-GB" sz="28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2800" dirty="0"/>
              <a:t>Diolch am gefnogi Cyfrifiad 2021 a chael effaith barhaol ar eich cymuned!</a:t>
            </a:r>
            <a:endParaRPr lang="en-GB" sz="2800" dirty="0"/>
          </a:p>
          <a:p>
            <a:pPr>
              <a:lnSpc>
                <a:spcPct val="120000"/>
              </a:lnSpc>
            </a:pPr>
            <a:endParaRPr lang="en-GB" dirty="0"/>
          </a:p>
          <a:p>
            <a:pPr>
              <a:lnSpc>
                <a:spcPct val="120000"/>
              </a:lnSpc>
            </a:pP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977C9F-E4AE-47FB-A8FB-A075C43ECF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7470" y="-132215"/>
            <a:ext cx="2714530" cy="2708373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2C9A13-DB3D-4BE8-9929-5E8C392E2A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945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8166B-C579-DF48-900E-C835F581A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8338"/>
            <a:ext cx="10533743" cy="1421928"/>
          </a:xfrm>
        </p:spPr>
        <p:txBody>
          <a:bodyPr/>
          <a:lstStyle/>
          <a:p>
            <a:r>
              <a:rPr lang="cy-GB" dirty="0">
                <a:solidFill>
                  <a:schemeClr val="tx2"/>
                </a:solidFill>
              </a:rPr>
              <a:t>Cadw mewn cysylltiad</a:t>
            </a:r>
            <a:br>
              <a:rPr lang="en-GB" dirty="0"/>
            </a:b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AD2BF1-FCE7-EB46-BAF0-0EE2D64218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0240"/>
            <a:ext cx="7686964" cy="3860799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y-GB" sz="2400" dirty="0"/>
              <a:t>Os oes gennych unrhyw gwestiynau am ein gweithgareddau mewn partneriaeth ag awdurdodau lleol, anfonwch e-bost atom yn</a:t>
            </a:r>
            <a:r>
              <a:rPr lang="cy-GB" dirty="0"/>
              <a:t> </a:t>
            </a:r>
            <a:r>
              <a:rPr lang="en-GB" sz="2400" b="1" dirty="0">
                <a:solidFill>
                  <a:schemeClr val="accent1"/>
                </a:solidFill>
              </a:rPr>
              <a:t>2021Census.LA.liaison@ons.gov.uk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y-GB" sz="2400" dirty="0"/>
              <a:t>Rhowch nod tudalen ar wefan Cyfrifiad 2021: </a:t>
            </a:r>
            <a:r>
              <a:rPr lang="cy-GB" sz="2400" b="1" dirty="0">
                <a:solidFill>
                  <a:schemeClr val="accent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cyfrifiad.gov.uk</a:t>
            </a:r>
            <a:r>
              <a:rPr lang="cy-GB" sz="2400" b="1" dirty="0">
                <a:solidFill>
                  <a:schemeClr val="accent1"/>
                </a:solidFill>
              </a:rPr>
              <a:t>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cy-GB" sz="2400" dirty="0"/>
              <a:t>Dilynwch ni ar y cyfryngau cymdeithasol</a:t>
            </a:r>
            <a:endParaRPr lang="en-GB" sz="2400" dirty="0"/>
          </a:p>
          <a:p>
            <a:pPr marL="1028700" lvl="1" indent="-342900">
              <a:lnSpc>
                <a:spcPct val="100000"/>
              </a:lnSpc>
            </a:pPr>
            <a:r>
              <a:rPr lang="cy-GB" sz="24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#Cyfrifiad2021</a:t>
            </a:r>
            <a:r>
              <a:rPr lang="cy-GB" sz="2400" dirty="0"/>
              <a:t> </a:t>
            </a:r>
            <a:endParaRPr lang="en-GB" sz="2400" dirty="0"/>
          </a:p>
          <a:p>
            <a:pPr marL="1028700" lvl="1" indent="-342900">
              <a:lnSpc>
                <a:spcPct val="100000"/>
              </a:lnSpc>
            </a:pPr>
            <a:r>
              <a:rPr lang="en-US" sz="2400" dirty="0">
                <a:hlinkClick r:id="rId4"/>
              </a:rPr>
              <a:t>@Cyfrifiad2021</a:t>
            </a:r>
            <a:endParaRPr lang="en-US" sz="2400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A46D1B7-CCDA-4446-9AB4-DA44B646B1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43805" y="633358"/>
            <a:ext cx="1728138" cy="17242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2D2AC37-94C7-4A9A-BC7A-9F8B625EAA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41524" y="2224093"/>
            <a:ext cx="1712276" cy="170839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EE96631-7FDA-40F9-9D5D-F052F9D9E5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41524" y="3947726"/>
            <a:ext cx="1712276" cy="1708393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C92D70-90F8-4781-867E-E7E6D7ED37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0138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4">
            <a:extLst>
              <a:ext uri="{FF2B5EF4-FFF2-40B4-BE49-F238E27FC236}">
                <a16:creationId xmlns:a16="http://schemas.microsoft.com/office/drawing/2014/main" id="{2C9D6D4C-877D-45CC-8DE5-8A9C90B20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8338"/>
            <a:ext cx="10533743" cy="1421928"/>
          </a:xfrm>
        </p:spPr>
        <p:txBody>
          <a:bodyPr/>
          <a:lstStyle/>
          <a:p>
            <a:r>
              <a:rPr lang="cy-GB" dirty="0">
                <a:solidFill>
                  <a:schemeClr val="tx2"/>
                </a:solidFill>
              </a:rPr>
              <a:t>Y cyfrifiad</a:t>
            </a:r>
            <a:br>
              <a:rPr lang="en-GB" dirty="0"/>
            </a:b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B546CDA-603C-4C27-9DD9-F9F1675695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cy-GB" sz="2800" dirty="0"/>
              <a:t>Arolwg a gaiff ei gynnal bob 10 mlynedd yw'r cyfrifiad ac mae pawb yn cymryd rhan ynddo. </a:t>
            </a:r>
            <a:endParaRPr lang="en-GB" sz="2800" dirty="0">
              <a:solidFill>
                <a:schemeClr val="tx1"/>
              </a:solidFill>
            </a:endParaRP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2800" dirty="0"/>
              <a:t>Y Swyddfa Ystadegau Gwladol (SYG) sy'n gyfrifol am y cyfrifiad yng Nghymru a Lloegr. </a:t>
            </a:r>
            <a:endParaRPr lang="en-GB" sz="28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2800" dirty="0"/>
              <a:t>Mae'r cyfrifiad yn bwysig am ei fod yn darparu'r wybodaeth fwyaf manwl sydd gennym am ein cymdeithas.</a:t>
            </a:r>
            <a:endParaRPr lang="en-GB" sz="28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2800" dirty="0"/>
              <a:t>Mae'r Alban a Gogledd Iwerddon yn cynnal eu cyfrifiadau eu hunain tua'r un amser.</a:t>
            </a:r>
            <a:endParaRPr lang="en-GB" sz="2800" dirty="0"/>
          </a:p>
          <a:p>
            <a:r>
              <a:rPr lang="en-GB" dirty="0"/>
              <a:t> </a:t>
            </a:r>
          </a:p>
          <a:p>
            <a:endParaRPr lang="en-GB" sz="2800" dirty="0">
              <a:solidFill>
                <a:schemeClr val="tx1"/>
              </a:solidFill>
            </a:endParaRPr>
          </a:p>
          <a:p>
            <a:pPr defTabSz="449263" eaLnBrk="0" hangingPunct="0">
              <a:lnSpc>
                <a:spcPct val="120000"/>
              </a:lnSpc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US" sz="2800" dirty="0">
              <a:ea typeface="Arial Unicode MS" pitchFamily="34" charset="-128"/>
              <a:cs typeface="Arial Unicode MS" pitchFamily="34" charset="-128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en-GB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en-GB" dirty="0"/>
          </a:p>
          <a:p>
            <a:pPr lvl="1">
              <a:buFont typeface="Arial" pitchFamily="34" charset="0"/>
              <a:buChar char="•"/>
            </a:pPr>
            <a:endParaRPr lang="en-GB" dirty="0"/>
          </a:p>
          <a:p>
            <a:pPr lvl="1">
              <a:buFont typeface="Arial" pitchFamily="34" charset="0"/>
              <a:buChar char="•"/>
            </a:pPr>
            <a:endParaRPr lang="en-GB" dirty="0"/>
          </a:p>
          <a:p>
            <a:pPr lvl="1">
              <a:buFont typeface="Arial" pitchFamily="34" charset="0"/>
              <a:buChar char="•"/>
            </a:pP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E291EF8-EB06-48C3-BD38-E84F51CC2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0626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C2457-8552-4705-BD29-1EE9424406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8338"/>
            <a:ext cx="10533743" cy="1421928"/>
          </a:xfrm>
        </p:spPr>
        <p:txBody>
          <a:bodyPr/>
          <a:lstStyle/>
          <a:p>
            <a:r>
              <a:rPr lang="cy-GB" dirty="0">
                <a:solidFill>
                  <a:schemeClr val="tx2"/>
                </a:solidFill>
              </a:rPr>
              <a:t>Cadw eich gwybodaeth bersonol yn ddiogel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0CE63F-0657-47DE-AEF5-FE02EF40BD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2231551"/>
            <a:ext cx="8869218" cy="3798915"/>
          </a:xfrm>
        </p:spPr>
        <p:txBody>
          <a:bodyPr>
            <a:normAutofit/>
          </a:bodyPr>
          <a:lstStyle/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y-GB" sz="2800" dirty="0"/>
              <a:t>Cyn i ni gyhoeddi ein hystadegau, byddwn yn gwneud yn siŵr nad ydynt yn cynnwys unrhyw wybodaeth bersonol. 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y-GB" sz="2800" dirty="0"/>
              <a:t>Caiff y wybodaeth rydym ni'n ei chasglu yn y cyfrifiad ei chadw'n ddienw am 100 mlynedd. </a:t>
            </a:r>
            <a:endParaRPr lang="en-GB" sz="28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2800" dirty="0"/>
              <a:t>Mae'n rhaid i bawb gwblhau'r cyfrifiad. Gwnaeth deddfwriaeth y cyfrifiad modern yn rhwymedigaeth gyfreithiol yn 1920.</a:t>
            </a: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7292AA-B8D5-4724-B917-C90C4F141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3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3CC4DD-72E1-4F97-872F-7FA2D8ABC9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07420" y="1417208"/>
            <a:ext cx="2027381" cy="202278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42D8ADC-7CFC-4BDF-9E29-F868724F35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7420" y="2590834"/>
            <a:ext cx="2027381" cy="202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2952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3" descr="845205_94150512">
            <a:extLst>
              <a:ext uri="{FF2B5EF4-FFF2-40B4-BE49-F238E27FC236}">
                <a16:creationId xmlns:a16="http://schemas.microsoft.com/office/drawing/2014/main" id="{D44DB4D2-ECEC-42F6-A5DC-C8F35CC2C6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9120913" y="3736570"/>
            <a:ext cx="3071088" cy="2301961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AF51B67-65A5-4FE3-8048-9AF8D41BB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8338"/>
            <a:ext cx="10533743" cy="757130"/>
          </a:xfrm>
        </p:spPr>
        <p:txBody>
          <a:bodyPr/>
          <a:lstStyle/>
          <a:p>
            <a:r>
              <a:rPr lang="cy-GB" dirty="0">
                <a:solidFill>
                  <a:schemeClr val="tx2"/>
                </a:solidFill>
              </a:rPr>
              <a:t>Pam y cynhelir cyfrifiad 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616EC5-97F4-41D5-AEE0-68ED2085A9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37113"/>
            <a:ext cx="5743575" cy="3798915"/>
          </a:xfrm>
        </p:spPr>
        <p:txBody>
          <a:bodyPr>
            <a:noAutofit/>
          </a:bodyPr>
          <a:lstStyle/>
          <a:p>
            <a:pPr defTabSz="449263" eaLnBrk="0" hangingPunct="0">
              <a:lnSpc>
                <a:spcPct val="100000"/>
              </a:lnSpc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cy-GB" sz="2800" dirty="0">
                <a:ea typeface="Arial Unicode MS" pitchFamily="34" charset="-128"/>
              </a:rPr>
              <a:t>Mae'r cyfrifiad yn darparu gwybodaeth sydd ei hangen ar y llywodraeth er mwyn:</a:t>
            </a:r>
            <a:r>
              <a:rPr lang="en-US" sz="2800" dirty="0">
                <a:ea typeface="Arial Unicode MS" pitchFamily="34" charset="-128"/>
              </a:rPr>
              <a:t> 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2800" dirty="0">
                <a:ea typeface="Arial Unicode MS" pitchFamily="34" charset="-128"/>
              </a:rPr>
              <a:t>Llywio polisïau</a:t>
            </a:r>
            <a:endParaRPr lang="en-GB" sz="2800" dirty="0">
              <a:ea typeface="Arial Unicode MS" pitchFamily="34" charset="-128"/>
            </a:endParaRP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2800" dirty="0">
                <a:ea typeface="Arial Unicode MS" pitchFamily="34" charset="-128"/>
              </a:rPr>
              <a:t>Dyrannu adnoddau</a:t>
            </a:r>
            <a:endParaRPr lang="en-GB" sz="2800" dirty="0">
              <a:ea typeface="Arial Unicode MS" pitchFamily="34" charset="-128"/>
            </a:endParaRP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2800" dirty="0">
                <a:ea typeface="Arial Unicode MS" pitchFamily="34" charset="-128"/>
              </a:rPr>
              <a:t>Cynllunio gwasanaethau</a:t>
            </a:r>
            <a:endParaRPr lang="en-GB" sz="2800" dirty="0">
              <a:ea typeface="Arial Unicode MS" pitchFamily="34" charset="-128"/>
            </a:endParaRP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2800" dirty="0">
                <a:ea typeface="Arial Unicode MS" pitchFamily="34" charset="-128"/>
              </a:rPr>
              <a:t>Monitro cydraddoldeb </a:t>
            </a:r>
            <a:endParaRPr lang="en-GB" sz="2800" dirty="0">
              <a:ea typeface="Arial Unicode MS" pitchFamily="34" charset="-128"/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2579A55-FBCC-4CF4-87C0-5FB88770BE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4</a:t>
            </a:fld>
            <a:endParaRPr lang="en-US" dirty="0"/>
          </a:p>
        </p:txBody>
      </p:sp>
      <p:pic>
        <p:nvPicPr>
          <p:cNvPr id="5" name="Picture 12" descr="698993_45346309[1]">
            <a:extLst>
              <a:ext uri="{FF2B5EF4-FFF2-40B4-BE49-F238E27FC236}">
                <a16:creationId xmlns:a16="http://schemas.microsoft.com/office/drawing/2014/main" id="{56EB7427-179E-4F80-A1F1-0C827E786F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20911" y="-25385"/>
            <a:ext cx="3071088" cy="204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4" descr="ONS040408-000197-2">
            <a:extLst>
              <a:ext uri="{FF2B5EF4-FFF2-40B4-BE49-F238E27FC236}">
                <a16:creationId xmlns:a16="http://schemas.microsoft.com/office/drawing/2014/main" id="{DECF14ED-E9A1-48F7-A221-2EFDA21DE6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>
          <a:xfrm>
            <a:off x="9120911" y="2019299"/>
            <a:ext cx="3071088" cy="2044684"/>
          </a:xfrm>
          <a:prstGeom prst="rect">
            <a:avLst/>
          </a:prstGeom>
          <a:noFill/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B295A7D-79B8-489C-990D-8121661FA127}"/>
              </a:ext>
            </a:extLst>
          </p:cNvPr>
          <p:cNvSpPr txBox="1">
            <a:spLocks/>
          </p:cNvSpPr>
          <p:nvPr/>
        </p:nvSpPr>
        <p:spPr>
          <a:xfrm>
            <a:off x="4662087" y="6259769"/>
            <a:ext cx="2867826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2700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9CFA71-F613-4514-A6F1-0FFCB099F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94906"/>
            <a:ext cx="11102266" cy="1588127"/>
          </a:xfrm>
        </p:spPr>
        <p:txBody>
          <a:bodyPr/>
          <a:lstStyle/>
          <a:p>
            <a:r>
              <a:rPr lang="cy-GB" sz="3600" dirty="0">
                <a:solidFill>
                  <a:schemeClr val="tx2"/>
                </a:solidFill>
              </a:rPr>
              <a:t>Mae gwybodaeth o'r cyfrifiad yn llywio penderfyniadau sy'n gwella bywydau</a:t>
            </a:r>
            <a:br>
              <a:rPr lang="en-GB" sz="3600" dirty="0">
                <a:solidFill>
                  <a:schemeClr val="tx2"/>
                </a:solidFill>
              </a:rPr>
            </a:br>
            <a:r>
              <a:rPr lang="cy-GB" sz="3600" dirty="0">
                <a:solidFill>
                  <a:schemeClr val="tx2"/>
                </a:solidFill>
              </a:rPr>
              <a:t>Cynllunio a datblygu</a:t>
            </a:r>
            <a:endParaRPr lang="en-GB" sz="3600" dirty="0">
              <a:solidFill>
                <a:schemeClr val="tx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78033B-D355-4A2F-9FB7-BB8881356E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0947" y="1827867"/>
            <a:ext cx="2066247" cy="20615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BE975A0-70C9-44AF-8759-2222F358AE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91728" y="1827868"/>
            <a:ext cx="2066247" cy="206156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0AC5C2B-967E-4CDC-B568-C1E005E966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54326" y="1827868"/>
            <a:ext cx="2066247" cy="206156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56F250E-DE6C-4FD3-9464-3FBE82BB3A37}"/>
              </a:ext>
            </a:extLst>
          </p:cNvPr>
          <p:cNvSpPr txBox="1"/>
          <p:nvPr/>
        </p:nvSpPr>
        <p:spPr>
          <a:xfrm>
            <a:off x="820057" y="3601642"/>
            <a:ext cx="3313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y-GB" b="1" dirty="0">
                <a:solidFill>
                  <a:schemeClr val="accent1"/>
                </a:solidFill>
              </a:rPr>
              <a:t>Cynllunio a datblygu</a:t>
            </a:r>
            <a:endParaRPr lang="en-GB" b="1" dirty="0">
              <a:solidFill>
                <a:schemeClr val="accent1"/>
              </a:solidFill>
            </a:endParaRPr>
          </a:p>
          <a:p>
            <a:r>
              <a:rPr lang="cy-GB" dirty="0"/>
              <a:t>Caiff gwybodaeth o'r cyfrifiad ei defnyddio i ddatblygu cynlluniau lleol er mwyn adlewyrchu anghenion yn y dyfodol yn well a nodi anghydraddoldebau ar lefel leol iawn.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CA92943-605D-4CD8-9A5D-A87261364675}"/>
              </a:ext>
            </a:extLst>
          </p:cNvPr>
          <p:cNvSpPr txBox="1"/>
          <p:nvPr/>
        </p:nvSpPr>
        <p:spPr>
          <a:xfrm>
            <a:off x="4405663" y="3612878"/>
            <a:ext cx="339881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y-GB" b="1" dirty="0">
                <a:solidFill>
                  <a:schemeClr val="accent1"/>
                </a:solidFill>
              </a:rPr>
              <a:t>Iechyd y cyhoedd a gofal cymdeithasol</a:t>
            </a:r>
            <a:endParaRPr lang="en-GB" b="1" dirty="0">
              <a:solidFill>
                <a:schemeClr val="accent1"/>
              </a:solidFill>
            </a:endParaRPr>
          </a:p>
          <a:p>
            <a:r>
              <a:rPr lang="cy-GB" dirty="0"/>
              <a:t>Caiff gwybodaeth o'r cyfrifiad ei defnyddio i nodi'r galw am wasanaethau, nodi mannau lle y ceir amddifadedd iechyd a chefnogi gwaith cynllunio gofal yn y dyfodol.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96899B2-6D25-40F6-BFD0-22FF09588F78}"/>
              </a:ext>
            </a:extLst>
          </p:cNvPr>
          <p:cNvSpPr txBox="1"/>
          <p:nvPr/>
        </p:nvSpPr>
        <p:spPr>
          <a:xfrm>
            <a:off x="8076156" y="3601642"/>
            <a:ext cx="295607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Tai</a:t>
            </a:r>
          </a:p>
          <a:p>
            <a:r>
              <a:rPr lang="cy-GB" dirty="0"/>
              <a:t>Caiff gwybodaeth o'r cyfrifiad ei defnyddio i asesu anghenion lleol o ran tai a mesur fforddiadwyedd tai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364A80-C70A-4B09-A2F2-9772A6FB8B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9542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9CFA71-F613-4514-A6F1-0FFCB099F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8338"/>
            <a:ext cx="10533743" cy="1089529"/>
          </a:xfrm>
        </p:spPr>
        <p:txBody>
          <a:bodyPr/>
          <a:lstStyle/>
          <a:p>
            <a:r>
              <a:rPr lang="cy-GB" sz="3600" dirty="0">
                <a:solidFill>
                  <a:schemeClr val="tx2"/>
                </a:solidFill>
              </a:rPr>
              <a:t>Mae gwybodaeth o'r cyfrifiad yn llywio penderfyniadau sy'n gwella bywydau</a:t>
            </a:r>
            <a:endParaRPr lang="en-GB" sz="3600" dirty="0"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AAA413-80B8-4342-A264-CEE2E50BBF0A}"/>
              </a:ext>
            </a:extLst>
          </p:cNvPr>
          <p:cNvSpPr txBox="1"/>
          <p:nvPr/>
        </p:nvSpPr>
        <p:spPr>
          <a:xfrm>
            <a:off x="4169643" y="3651551"/>
            <a:ext cx="32471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y-GB" b="1" dirty="0">
                <a:solidFill>
                  <a:schemeClr val="accent1"/>
                </a:solidFill>
              </a:rPr>
              <a:t>Trafnidiaeth</a:t>
            </a:r>
            <a:endParaRPr lang="en-GB" b="1" dirty="0">
              <a:solidFill>
                <a:schemeClr val="accent1"/>
              </a:solidFill>
            </a:endParaRPr>
          </a:p>
          <a:p>
            <a:r>
              <a:rPr lang="cy-GB" dirty="0"/>
              <a:t>Caiff gwybodaeth o'r cyfrifiad ei defnyddio ar gyfer cynigion am gyllid i wella ffyrdd ac mae'n llywio gwaith cynllunio a phroffiliau mewn perthynas â newidiadau i drafnidiaeth.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6ED64C1-F803-435B-920F-2F57BB767FE5}"/>
              </a:ext>
            </a:extLst>
          </p:cNvPr>
          <p:cNvSpPr txBox="1"/>
          <p:nvPr/>
        </p:nvSpPr>
        <p:spPr>
          <a:xfrm>
            <a:off x="838200" y="3618893"/>
            <a:ext cx="30213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y-GB" b="1" dirty="0">
                <a:solidFill>
                  <a:schemeClr val="accent1"/>
                </a:solidFill>
              </a:rPr>
              <a:t>Addysg</a:t>
            </a:r>
            <a:endParaRPr lang="en-GB" b="1" dirty="0">
              <a:solidFill>
                <a:schemeClr val="accent1"/>
              </a:solidFill>
            </a:endParaRPr>
          </a:p>
          <a:p>
            <a:r>
              <a:rPr lang="cy-GB" dirty="0"/>
              <a:t>Caiff gwybodaeth o'r cyfrifiad ei defnyddio i lunio modelau rhagfynegi disgyblion, llywio cynigion cyfalaf a monitro'r cyflenwad o bobl gymwysedig.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E5283B-E877-4912-AC85-4EC45EB08A14}"/>
              </a:ext>
            </a:extLst>
          </p:cNvPr>
          <p:cNvSpPr txBox="1"/>
          <p:nvPr/>
        </p:nvSpPr>
        <p:spPr>
          <a:xfrm>
            <a:off x="7726849" y="3696434"/>
            <a:ext cx="32471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y-GB" b="1" dirty="0">
                <a:solidFill>
                  <a:schemeClr val="accent1"/>
                </a:solidFill>
              </a:rPr>
              <a:t>Arall</a:t>
            </a:r>
            <a:endParaRPr lang="en-GB" b="1" dirty="0">
              <a:solidFill>
                <a:schemeClr val="accent1"/>
              </a:solidFill>
            </a:endParaRPr>
          </a:p>
          <a:p>
            <a:r>
              <a:rPr lang="cy-GB" dirty="0"/>
              <a:t>Caiff gwybodaeth o'r cyfrifiad ei defnyddio i lywio gwasanaethau brys, gwasanaethau llyfrgelloedd a gwasanaethau casglu a gwaredu gwastraff. </a:t>
            </a:r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9D38547-5295-4A09-80DA-376761DB55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0374" y="1807633"/>
            <a:ext cx="2066247" cy="206156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4E70387-6958-4266-A2DF-65EC4ABD99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4938" y="1827867"/>
            <a:ext cx="2066247" cy="206156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66F32A1-F971-473E-ABA9-B8E6D82F58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37579" y="1826104"/>
            <a:ext cx="2066247" cy="206156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74FAC7-258E-4817-A999-382F113764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4944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42782-D4B5-42D5-8E82-0BC3E0052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8338"/>
            <a:ext cx="10533743" cy="1421928"/>
          </a:xfrm>
        </p:spPr>
        <p:txBody>
          <a:bodyPr/>
          <a:lstStyle/>
          <a:p>
            <a:r>
              <a:rPr lang="cy-GB" dirty="0">
                <a:solidFill>
                  <a:schemeClr val="tx2"/>
                </a:solidFill>
              </a:rPr>
              <a:t>Ffeithiau am Gyfrifiad 2021</a:t>
            </a:r>
            <a:br>
              <a:rPr lang="en-GB" dirty="0"/>
            </a:b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59BBDC-45C3-4107-ABD4-424410E22F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37113"/>
            <a:ext cx="8496299" cy="3798915"/>
          </a:xfrm>
        </p:spPr>
        <p:txBody>
          <a:bodyPr>
            <a:normAutofit fontScale="85000" lnSpcReduction="20000"/>
          </a:bodyPr>
          <a:lstStyle/>
          <a:p>
            <a:pPr marL="457200" indent="-4572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y-GB" sz="3000" dirty="0"/>
              <a:t>Cynhelir y cyfrifiad nesaf </a:t>
            </a:r>
            <a:br>
              <a:rPr lang="en-GB" sz="3000" dirty="0">
                <a:solidFill>
                  <a:schemeClr val="tx1"/>
                </a:solidFill>
              </a:rPr>
            </a:br>
            <a:r>
              <a:rPr lang="cy-GB" sz="3000" b="1" dirty="0">
                <a:solidFill>
                  <a:schemeClr val="accent1"/>
                </a:solidFill>
              </a:rPr>
              <a:t>ddydd Sul 21 Mawrth 2021. </a:t>
            </a:r>
            <a:endParaRPr lang="en-GB" sz="3000" b="1" dirty="0">
              <a:solidFill>
                <a:schemeClr val="accent3">
                  <a:lumMod val="75000"/>
                </a:schemeClr>
              </a:solidFill>
            </a:endParaRP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3000" dirty="0"/>
              <a:t>Am y tro cyntaf, bydd hwn yn gyfrifiad digidol yn gyntaf ond bydd holiadur papur ar gael i'r rhai sydd ei angen.</a:t>
            </a:r>
            <a:endParaRPr lang="en-GB" sz="30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3000" dirty="0"/>
              <a:t>Byddwn yn canolbwyntio ar ymgysylltu â phawb, gan gynnwys grwpiau heb gynrychiolaeth ddigonol a'r rhai sy'n anodd eu cyrraedd.</a:t>
            </a:r>
            <a:endParaRPr lang="en-GB" sz="30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cy-GB" sz="3000" dirty="0"/>
              <a:t>Bydd help ar gael i'r bobl hynny y mae angen cymorth arnynt i gymryd rhan ar lein.</a:t>
            </a:r>
            <a:endParaRPr lang="en-GB" sz="3000" dirty="0"/>
          </a:p>
          <a:p>
            <a:endParaRPr lang="en-GB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932C81-4C62-49CF-B64A-629E26615F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64151" y="2324362"/>
            <a:ext cx="1619430" cy="1615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644F3B-9262-41A9-ABC1-73F05E3983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64151" y="1402094"/>
            <a:ext cx="1619430" cy="161575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593446D-674E-4C38-8BB8-1A6D0F925C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64151" y="3261476"/>
            <a:ext cx="1619430" cy="161575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A2D099E-E4D8-486B-839D-F53FB650D3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60855" y="4183743"/>
            <a:ext cx="1622726" cy="1619046"/>
          </a:xfrm>
          <a:prstGeom prst="rect">
            <a:avLst/>
          </a:prstGeom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0017E2-C5F7-42F6-821B-92FC8C01F1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21979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 Box 5"/>
          <p:cNvSpPr txBox="1">
            <a:spLocks noChangeArrowheads="1"/>
          </p:cNvSpPr>
          <p:nvPr/>
        </p:nvSpPr>
        <p:spPr bwMode="auto">
          <a:xfrm>
            <a:off x="3341440" y="2408065"/>
            <a:ext cx="576064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ctr" defTabSz="914378">
              <a:lnSpc>
                <a:spcPct val="90000"/>
              </a:lnSpc>
              <a:spcBef>
                <a:spcPct val="50000"/>
              </a:spcBef>
              <a:defRPr/>
            </a:pPr>
            <a:endParaRPr lang="en-US" sz="1200" dirty="0">
              <a:solidFill>
                <a:srgbClr val="000000"/>
              </a:solidFill>
              <a:latin typeface="Arial Bold" pitchFamily="1" charset="0"/>
              <a:ea typeface="ＭＳ Ｐゴシック" pitchFamily="1" charset="-128"/>
            </a:endParaRPr>
          </a:p>
        </p:txBody>
      </p:sp>
      <p:sp>
        <p:nvSpPr>
          <p:cNvPr id="112" name="Slide Number Placeholder 4">
            <a:extLst>
              <a:ext uri="{FF2B5EF4-FFF2-40B4-BE49-F238E27FC236}">
                <a16:creationId xmlns:a16="http://schemas.microsoft.com/office/drawing/2014/main" id="{91350040-8DD9-4FB3-AEF1-FB79C9C3F823}"/>
              </a:ext>
            </a:extLst>
          </p:cNvPr>
          <p:cNvSpPr txBox="1">
            <a:spLocks/>
          </p:cNvSpPr>
          <p:nvPr/>
        </p:nvSpPr>
        <p:spPr>
          <a:xfrm>
            <a:off x="8472264" y="6584157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83">
              <a:defRPr/>
            </a:pPr>
            <a:fld id="{BD8887EB-C230-456D-9105-00AFE93F9A92}" type="slidenum">
              <a:rPr lang="en-GB" sz="90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ＭＳ Ｐゴシック"/>
              </a:rPr>
              <a:pPr algn="r" defTabSz="685783">
                <a:defRPr/>
              </a:pPr>
              <a:t>8</a:t>
            </a:fld>
            <a:endParaRPr lang="en-GB" sz="900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ＭＳ Ｐゴシック"/>
            </a:endParaRPr>
          </a:p>
        </p:txBody>
      </p:sp>
      <p:sp>
        <p:nvSpPr>
          <p:cNvPr id="141" name="Rectangle 11">
            <a:extLst>
              <a:ext uri="{FF2B5EF4-FFF2-40B4-BE49-F238E27FC236}">
                <a16:creationId xmlns:a16="http://schemas.microsoft.com/office/drawing/2014/main" id="{C4922407-A96F-4099-B1E3-E671A696D17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81817" y="3893265"/>
            <a:ext cx="2159940" cy="523220"/>
          </a:xfrm>
          <a:prstGeom prst="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0" tIns="0" rIns="0" bIns="0" anchor="b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cy-GB" sz="2000" b="1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Hydref 2020</a:t>
            </a:r>
            <a:endParaRPr lang="en-GB" sz="2000" b="1" kern="0" dirty="0">
              <a:solidFill>
                <a:schemeClr val="accent1">
                  <a:lumMod val="75000"/>
                </a:schemeClr>
              </a:solidFill>
              <a:latin typeface="Arial"/>
              <a:ea typeface="ＭＳ Ｐゴシック"/>
            </a:endParaRPr>
          </a:p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endParaRPr lang="en-GB" altLang="en-US" sz="1400" b="1" kern="0" dirty="0">
              <a:solidFill>
                <a:schemeClr val="accent1">
                  <a:lumMod val="75000"/>
                </a:schemeClr>
              </a:solidFill>
              <a:latin typeface="Arial"/>
              <a:ea typeface="ＭＳ Ｐゴシック"/>
            </a:endParaRPr>
          </a:p>
        </p:txBody>
      </p:sp>
      <p:sp>
        <p:nvSpPr>
          <p:cNvPr id="143" name="Rectangle 13">
            <a:extLst>
              <a:ext uri="{FF2B5EF4-FFF2-40B4-BE49-F238E27FC236}">
                <a16:creationId xmlns:a16="http://schemas.microsoft.com/office/drawing/2014/main" id="{428120D2-6ACE-4A48-B5F8-9E378397421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096002" y="5622910"/>
            <a:ext cx="75682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altLang="en-US" sz="900" b="1" kern="0" dirty="0">
                <a:solidFill>
                  <a:srgbClr val="002960"/>
                </a:solidFill>
                <a:latin typeface="Arial"/>
                <a:ea typeface="ＭＳ Ｐゴシック"/>
              </a:rPr>
              <a:t>Feb 2019</a:t>
            </a:r>
          </a:p>
        </p:txBody>
      </p:sp>
      <p:sp>
        <p:nvSpPr>
          <p:cNvPr id="193" name="Rectangle 12">
            <a:extLst>
              <a:ext uri="{FF2B5EF4-FFF2-40B4-BE49-F238E27FC236}">
                <a16:creationId xmlns:a16="http://schemas.microsoft.com/office/drawing/2014/main" id="{D8CE0724-9147-403E-9E7B-C1FFF6C1444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972805" y="4206548"/>
            <a:ext cx="288837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cy-GB" sz="2000" b="1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Gwanwyn 2021 </a:t>
            </a:r>
            <a:r>
              <a:rPr lang="en-GB" altLang="en-US" sz="2000" b="1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 </a:t>
            </a:r>
          </a:p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cy-GB" sz="1400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(ar ôl  Diwrnod y Cyfrifiad)</a:t>
            </a:r>
            <a:endParaRPr lang="en-GB" altLang="en-US" sz="1400" kern="0" dirty="0">
              <a:solidFill>
                <a:schemeClr val="accent1">
                  <a:lumMod val="75000"/>
                </a:schemeClr>
              </a:solidFill>
              <a:latin typeface="Arial"/>
              <a:ea typeface="ＭＳ Ｐゴシック"/>
            </a:endParaRPr>
          </a:p>
        </p:txBody>
      </p:sp>
      <p:sp>
        <p:nvSpPr>
          <p:cNvPr id="207" name="Rectangle 130">
            <a:extLst>
              <a:ext uri="{FF2B5EF4-FFF2-40B4-BE49-F238E27FC236}">
                <a16:creationId xmlns:a16="http://schemas.microsoft.com/office/drawing/2014/main" id="{F1992A42-A63E-44A9-9C32-C694C3E9385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931723" y="4749416"/>
            <a:ext cx="3611276" cy="1259828"/>
          </a:xfrm>
          <a:prstGeom prst="rect">
            <a:avLst/>
          </a:prstGeom>
          <a:solidFill>
            <a:srgbClr val="0060A8"/>
          </a:solidFill>
          <a:ln w="25400" cap="flat" cmpd="sng" algn="ctr">
            <a:noFill/>
            <a:prstDash val="solid"/>
          </a:ln>
          <a:effectLst/>
        </p:spPr>
        <p:txBody>
          <a:bodyPr lIns="72000" tIns="36000" rIns="72000" bIns="36000" rtlCol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y-GB" sz="1200" b="1" kern="0" dirty="0">
                <a:solidFill>
                  <a:prstClr val="white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aiff rheolwyr gweithrediadau ardal eu penodi</a:t>
            </a:r>
            <a:endParaRPr lang="en-GB" sz="1200" b="1" kern="0" dirty="0">
              <a:solidFill>
                <a:prstClr val="white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y-GB" sz="1200" b="1" kern="0" dirty="0">
                <a:solidFill>
                  <a:prstClr val="white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ydd cymorth ar-lein ar gael a bydd Canolfan Gyswllt y Cyfrifiad yn agor</a:t>
            </a:r>
            <a:endParaRPr lang="en-GB" sz="1200" b="1" kern="0" dirty="0">
              <a:solidFill>
                <a:prstClr val="white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y-GB" sz="1200" b="1" kern="0" dirty="0">
                <a:solidFill>
                  <a:prstClr val="white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ydd yr holiadur ar-lein ar gael</a:t>
            </a:r>
            <a:endParaRPr lang="en-GB" sz="1200" b="1" kern="0" dirty="0">
              <a:solidFill>
                <a:prstClr val="white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y-GB" sz="1200" b="1" kern="0" dirty="0">
                <a:solidFill>
                  <a:prstClr val="white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aiff llythyrau cyswllt cychwynnol eu hanfon</a:t>
            </a:r>
            <a:endParaRPr lang="en-US" sz="1200" b="1" dirty="0">
              <a:solidFill>
                <a:srgbClr val="FFFFFF"/>
              </a:solidFill>
              <a:ea typeface="ＭＳ Ｐゴシック" pitchFamily="1" charset="-128"/>
            </a:endParaRPr>
          </a:p>
        </p:txBody>
      </p:sp>
      <p:sp>
        <p:nvSpPr>
          <p:cNvPr id="206" name="Rectangle 130">
            <a:extLst>
              <a:ext uri="{FF2B5EF4-FFF2-40B4-BE49-F238E27FC236}">
                <a16:creationId xmlns:a16="http://schemas.microsoft.com/office/drawing/2014/main" id="{647E937A-50F1-4AFE-B8A5-8EEFC84A41B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765986" y="4286996"/>
            <a:ext cx="3132914" cy="1722248"/>
          </a:xfrm>
          <a:prstGeom prst="rect">
            <a:avLst/>
          </a:prstGeom>
          <a:solidFill>
            <a:srgbClr val="0060A8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50" indent="-171450" defTabSz="914217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cy-GB" sz="1200" b="1" dirty="0">
                <a:solidFill>
                  <a:srgbClr val="FFFFFF"/>
                </a:solidFill>
                <a:ea typeface="ＭＳ Ｐゴシック" pitchFamily="1" charset="-128"/>
              </a:rPr>
              <a:t>Bydd canllawiau manwl ar gael ar gyfer rheolwyr cyswllt y cyfrifiad a rheolwyr cyswllt cynorthwyol y cyfrifiad</a:t>
            </a:r>
            <a:endParaRPr lang="en-GB" sz="1200" b="1" dirty="0">
              <a:solidFill>
                <a:srgbClr val="FFFFFF"/>
              </a:solidFill>
              <a:ea typeface="ＭＳ Ｐゴシック" pitchFamily="1" charset="-128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y-GB" sz="1200" b="1" dirty="0">
                <a:solidFill>
                  <a:srgbClr val="FFFFFF"/>
                </a:solidFill>
                <a:ea typeface="ＭＳ Ｐゴシック" pitchFamily="1" charset="-128"/>
              </a:rPr>
              <a:t>Caiff rheolwyr ymgysylltu'r cyfrifiad a chynghorwyr cymunedol eu penodi</a:t>
            </a:r>
            <a:endParaRPr lang="en-GB" sz="1200" b="1" dirty="0">
              <a:solidFill>
                <a:srgbClr val="FFFFFF"/>
              </a:solidFill>
              <a:ea typeface="ＭＳ Ｐゴシック" pitchFamily="1" charset="-128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y-GB" sz="1200" b="1" dirty="0">
                <a:solidFill>
                  <a:srgbClr val="FFFFFF"/>
                </a:solidFill>
                <a:ea typeface="ＭＳ Ｐゴシック" pitchFamily="1" charset="-128"/>
              </a:rPr>
              <a:t>Bydd y pecyn cymorth cyfathrebu ar gael</a:t>
            </a:r>
            <a:endParaRPr lang="en-GB" altLang="en-US" sz="900" b="1" kern="0" dirty="0">
              <a:solidFill>
                <a:prstClr val="white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16" name="Rectangle 13">
            <a:extLst>
              <a:ext uri="{FF2B5EF4-FFF2-40B4-BE49-F238E27FC236}">
                <a16:creationId xmlns:a16="http://schemas.microsoft.com/office/drawing/2014/main" id="{0966A1C9-CFAF-4C72-B6C6-CF442B659F17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775271" y="4201058"/>
            <a:ext cx="20032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cy-GB" sz="2000" b="1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Gwanwyn 2021 </a:t>
            </a:r>
            <a:r>
              <a:rPr lang="en-GB" altLang="en-US" sz="2000" b="1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 </a:t>
            </a:r>
          </a:p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cy-GB" sz="1400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(cyn Diwrnod y Cyfrifiad)</a:t>
            </a:r>
            <a:endParaRPr lang="en-GB" altLang="en-US" sz="1400" kern="0" dirty="0">
              <a:solidFill>
                <a:schemeClr val="accent1">
                  <a:lumMod val="75000"/>
                </a:schemeClr>
              </a:solidFill>
              <a:latin typeface="Arial"/>
              <a:ea typeface="ＭＳ Ｐゴシック"/>
            </a:endParaRPr>
          </a:p>
        </p:txBody>
      </p:sp>
      <p:sp>
        <p:nvSpPr>
          <p:cNvPr id="118" name="Rectangle 130">
            <a:extLst>
              <a:ext uri="{FF2B5EF4-FFF2-40B4-BE49-F238E27FC236}">
                <a16:creationId xmlns:a16="http://schemas.microsoft.com/office/drawing/2014/main" id="{BB2B3EBE-D61C-4241-B370-F9CF1DBD394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9575822" y="4749416"/>
            <a:ext cx="2514729" cy="1265168"/>
          </a:xfrm>
          <a:prstGeom prst="rect">
            <a:avLst/>
          </a:prstGeom>
          <a:solidFill>
            <a:srgbClr val="0060A8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y-GB" sz="1200" b="1" kern="0" dirty="0">
                <a:solidFill>
                  <a:prstClr val="white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Gwaith dilynol mewn perthynas â'r cyfrifiad</a:t>
            </a:r>
            <a:endParaRPr lang="en-GB" sz="1200" b="1" kern="0" dirty="0">
              <a:solidFill>
                <a:prstClr val="white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y-GB" sz="1200" b="1" kern="0" dirty="0">
                <a:solidFill>
                  <a:prstClr val="white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rolwg Cwmpas y Cyfrifiad (chwe wythnos ar ôl Diwrnod y Cyfrifiad)</a:t>
            </a:r>
            <a:endParaRPr lang="en-GB" sz="1200" b="1" kern="0" dirty="0">
              <a:solidFill>
                <a:prstClr val="white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03DF06A-57EF-45C1-BCC0-AC751155ABA6}"/>
              </a:ext>
            </a:extLst>
          </p:cNvPr>
          <p:cNvGrpSpPr/>
          <p:nvPr/>
        </p:nvGrpSpPr>
        <p:grpSpPr>
          <a:xfrm>
            <a:off x="2289073" y="845289"/>
            <a:ext cx="8265974" cy="1812220"/>
            <a:chOff x="3465102" y="1532716"/>
            <a:chExt cx="7023258" cy="1812220"/>
          </a:xfrm>
        </p:grpSpPr>
        <p:sp>
          <p:nvSpPr>
            <p:cNvPr id="97" name="TextBox 36"/>
            <p:cNvSpPr txBox="1">
              <a:spLocks noChangeArrowheads="1"/>
            </p:cNvSpPr>
            <p:nvPr/>
          </p:nvSpPr>
          <p:spPr bwMode="auto">
            <a:xfrm>
              <a:off x="3465102" y="1741704"/>
              <a:ext cx="1042765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9pPr>
            </a:lstStyle>
            <a:p>
              <a:r>
                <a:rPr lang="cy-GB" sz="1200" dirty="0">
                  <a:solidFill>
                    <a:schemeClr val="tx2">
                      <a:lumMod val="75000"/>
                    </a:schemeClr>
                  </a:solidFill>
                  <a:ea typeface="ＭＳ Ｐゴシック" pitchFamily="1" charset="-128"/>
                </a:rPr>
                <a:t>Ymarfer Casglu – rhwng mis Medi a mis Rhagfyr 2019</a:t>
              </a:r>
              <a:endParaRPr lang="en-GB" sz="1200" dirty="0">
                <a:solidFill>
                  <a:schemeClr val="tx2">
                    <a:lumMod val="75000"/>
                  </a:schemeClr>
                </a:solidFill>
                <a:ea typeface="ＭＳ Ｐゴシック" pitchFamily="1" charset="-128"/>
              </a:endParaRPr>
            </a:p>
          </p:txBody>
        </p:sp>
        <p:sp>
          <p:nvSpPr>
            <p:cNvPr id="99" name="TextBox 38"/>
            <p:cNvSpPr txBox="1">
              <a:spLocks noChangeArrowheads="1"/>
            </p:cNvSpPr>
            <p:nvPr/>
          </p:nvSpPr>
          <p:spPr bwMode="auto">
            <a:xfrm>
              <a:off x="6545803" y="1532716"/>
              <a:ext cx="1469805" cy="11695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9pPr>
            </a:lstStyle>
            <a:p>
              <a:pPr algn="ctr" defTabSz="914378">
                <a:defRPr/>
              </a:pPr>
              <a:r>
                <a:rPr lang="cy-GB" sz="1400" dirty="0">
                  <a:solidFill>
                    <a:schemeClr val="accent6">
                      <a:lumMod val="60000"/>
                      <a:lumOff val="40000"/>
                    </a:schemeClr>
                  </a:solidFill>
                  <a:ea typeface="ＭＳ Ｐゴシック" pitchFamily="1" charset="-128"/>
                </a:rPr>
                <a:t>Dydd Sul 21 Mawrth 2021 – Diwrnod y Cyfrifiad</a:t>
              </a:r>
              <a:endParaRPr lang="en-GB" sz="1400" dirty="0">
                <a:solidFill>
                  <a:schemeClr val="accent6">
                    <a:lumMod val="60000"/>
                    <a:lumOff val="40000"/>
                  </a:schemeClr>
                </a:solidFill>
                <a:ea typeface="ＭＳ Ｐゴシック" pitchFamily="1" charset="-128"/>
              </a:endParaRPr>
            </a:p>
            <a:p>
              <a:pPr algn="ctr" defTabSz="914378">
                <a:defRPr/>
              </a:pPr>
              <a:endParaRPr lang="en-GB" sz="1400" dirty="0">
                <a:solidFill>
                  <a:schemeClr val="accent6">
                    <a:lumMod val="60000"/>
                    <a:lumOff val="40000"/>
                  </a:schemeClr>
                </a:solidFill>
                <a:ea typeface="ＭＳ Ｐゴシック" pitchFamily="1" charset="-128"/>
              </a:endParaRPr>
            </a:p>
          </p:txBody>
        </p:sp>
        <p:sp>
          <p:nvSpPr>
            <p:cNvPr id="106" name="TextBox 38"/>
            <p:cNvSpPr txBox="1">
              <a:spLocks noChangeArrowheads="1"/>
            </p:cNvSpPr>
            <p:nvPr/>
          </p:nvSpPr>
          <p:spPr bwMode="auto">
            <a:xfrm>
              <a:off x="9353075" y="2698605"/>
              <a:ext cx="1135285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rIns="0">
              <a:spAutoFit/>
            </a:bodyPr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9pPr>
            </a:lstStyle>
            <a:p>
              <a:pPr algn="ctr" defTabSz="914378">
                <a:defRPr/>
              </a:pPr>
              <a:r>
                <a:rPr lang="cy-GB" sz="1200" dirty="0">
                  <a:solidFill>
                    <a:schemeClr val="tx2">
                      <a:lumMod val="75000"/>
                    </a:schemeClr>
                  </a:solidFill>
                  <a:ea typeface="ＭＳ Ｐゴシック" pitchFamily="1" charset="-128"/>
                </a:rPr>
                <a:t>Allbynnau Cyfrifiad Gwell</a:t>
              </a:r>
              <a:endParaRPr lang="en-GB" sz="1200" dirty="0">
                <a:solidFill>
                  <a:schemeClr val="tx2">
                    <a:lumMod val="75000"/>
                  </a:schemeClr>
                </a:solidFill>
                <a:ea typeface="ＭＳ Ｐゴシック" pitchFamily="1" charset="-128"/>
              </a:endParaRPr>
            </a:p>
            <a:p>
              <a:pPr algn="ctr" defTabSz="914378">
                <a:defRPr/>
              </a:pPr>
              <a:endParaRPr lang="en-GB" sz="1200" dirty="0">
                <a:solidFill>
                  <a:schemeClr val="tx2">
                    <a:lumMod val="75000"/>
                  </a:schemeClr>
                </a:solidFill>
                <a:ea typeface="ＭＳ Ｐゴシック" pitchFamily="1" charset="-128"/>
              </a:endParaRPr>
            </a:p>
          </p:txBody>
        </p:sp>
        <p:sp>
          <p:nvSpPr>
            <p:cNvPr id="100" name="TextBox 36">
              <a:extLst>
                <a:ext uri="{FF2B5EF4-FFF2-40B4-BE49-F238E27FC236}">
                  <a16:creationId xmlns:a16="http://schemas.microsoft.com/office/drawing/2014/main" id="{BBE1A794-88E3-46B2-97BE-BA1EC51DCB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79886" y="1756650"/>
              <a:ext cx="1042765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9pPr>
            </a:lstStyle>
            <a:p>
              <a:r>
                <a:rPr lang="cy-GB" sz="1200" dirty="0">
                  <a:solidFill>
                    <a:schemeClr val="tx2">
                      <a:lumMod val="75000"/>
                    </a:schemeClr>
                  </a:solidFill>
                  <a:ea typeface="ＭＳ Ｐゴシック" pitchFamily="1" charset="-128"/>
                </a:rPr>
                <a:t>Ymarfer Prosesu – rhwng mis Ionawr a mis Mawrth 2020</a:t>
              </a:r>
              <a:endParaRPr lang="en-GB" sz="1200" dirty="0">
                <a:solidFill>
                  <a:schemeClr val="tx2">
                    <a:lumMod val="75000"/>
                  </a:schemeClr>
                </a:solidFill>
                <a:ea typeface="ＭＳ Ｐゴシック" pitchFamily="1" charset="-128"/>
              </a:endParaRPr>
            </a:p>
          </p:txBody>
        </p:sp>
        <p:sp>
          <p:nvSpPr>
            <p:cNvPr id="108" name="TextBox 38"/>
            <p:cNvSpPr txBox="1">
              <a:spLocks noChangeArrowheads="1"/>
            </p:cNvSpPr>
            <p:nvPr/>
          </p:nvSpPr>
          <p:spPr bwMode="auto">
            <a:xfrm>
              <a:off x="7916627" y="1850402"/>
              <a:ext cx="741534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rIns="0">
              <a:spAutoFit/>
            </a:bodyPr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9pPr>
            </a:lstStyle>
            <a:p>
              <a:pPr algn="ctr" defTabSz="914378">
                <a:defRPr/>
              </a:pPr>
              <a:r>
                <a:rPr lang="cy-GB" sz="1200" dirty="0">
                  <a:solidFill>
                    <a:schemeClr val="tx2">
                      <a:lumMod val="75000"/>
                    </a:schemeClr>
                  </a:solidFill>
                  <a:ea typeface="ＭＳ Ｐゴシック" pitchFamily="1" charset="-128"/>
                </a:rPr>
                <a:t>Arolwg Cwmpas y Cyfrifiad</a:t>
              </a:r>
              <a:endParaRPr lang="en-GB" sz="1200" dirty="0">
                <a:solidFill>
                  <a:schemeClr val="tx2">
                    <a:lumMod val="75000"/>
                  </a:schemeClr>
                </a:solidFill>
                <a:ea typeface="ＭＳ Ｐゴシック" pitchFamily="1" charset="-128"/>
              </a:endParaRPr>
            </a:p>
            <a:p>
              <a:pPr algn="ctr" defTabSz="914378">
                <a:defRPr/>
              </a:pPr>
              <a:endParaRPr lang="en-GB" sz="1200" dirty="0">
                <a:solidFill>
                  <a:schemeClr val="tx2">
                    <a:lumMod val="75000"/>
                  </a:schemeClr>
                </a:solidFill>
                <a:ea typeface="ＭＳ Ｐゴシック" pitchFamily="1" charset="-128"/>
              </a:endParaRPr>
            </a:p>
          </p:txBody>
        </p:sp>
      </p:grp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74C839A5-AF3D-43A2-A299-195E71F5D794}"/>
              </a:ext>
            </a:extLst>
          </p:cNvPr>
          <p:cNvCxnSpPr/>
          <p:nvPr/>
        </p:nvCxnSpPr>
        <p:spPr>
          <a:xfrm flipV="1">
            <a:off x="11660957" y="3351199"/>
            <a:ext cx="0" cy="362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tangle 130">
            <a:extLst>
              <a:ext uri="{FF2B5EF4-FFF2-40B4-BE49-F238E27FC236}">
                <a16:creationId xmlns:a16="http://schemas.microsoft.com/office/drawing/2014/main" id="{08C2DFA2-A824-469D-AAA0-600B8A4E1D73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6603" y="4267164"/>
            <a:ext cx="2592398" cy="1742079"/>
          </a:xfrm>
          <a:prstGeom prst="rect">
            <a:avLst/>
          </a:prstGeom>
          <a:solidFill>
            <a:srgbClr val="0060A8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y-GB" sz="1200" b="1" dirty="0">
                <a:solidFill>
                  <a:srgbClr val="FFFFFF"/>
                </a:solidFill>
                <a:ea typeface="ＭＳ Ｐゴシック" pitchFamily="1" charset="-128"/>
              </a:rPr>
              <a:t>Caiff rheolwyr cyswllt y cyfrifiad a rheolwyr cyswllt cynorthwyol y cyfrifiad eu henwebu ar gyfer pob awdurdod lleol</a:t>
            </a:r>
            <a:endParaRPr lang="en-GB" sz="1200" b="1" dirty="0">
              <a:solidFill>
                <a:srgbClr val="FFFFFF"/>
              </a:solidFill>
              <a:ea typeface="ＭＳ Ｐゴシック" pitchFamily="1" charset="-128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y-GB" sz="1200" b="1" dirty="0">
                <a:solidFill>
                  <a:srgbClr val="FFFFFF"/>
                </a:solidFill>
                <a:ea typeface="ＭＳ Ｐゴシック" pitchFamily="1" charset="-128"/>
              </a:rPr>
              <a:t>Cynhelir gweithdai rhanbarthol ar y cyfrifiad mewn awdurdodau lleol ar gyfer rheolwyr cyswllt y cyfrifiad a rheolwyr cyswllt cynorthwyol y cyfrifiad</a:t>
            </a:r>
            <a:endParaRPr lang="en-GB" altLang="en-US" sz="1200" b="1" kern="0" dirty="0">
              <a:solidFill>
                <a:prstClr val="white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1" name="Rectangle 13">
            <a:extLst>
              <a:ext uri="{FF2B5EF4-FFF2-40B4-BE49-F238E27FC236}">
                <a16:creationId xmlns:a16="http://schemas.microsoft.com/office/drawing/2014/main" id="{A608C80E-D3AC-4AA7-B0F2-D4C373013279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18473" y="3948178"/>
            <a:ext cx="178597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cy-GB" sz="2000" b="1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Haf 2020  </a:t>
            </a:r>
            <a:endParaRPr lang="en-GB" sz="2000" b="1" kern="0" dirty="0">
              <a:solidFill>
                <a:schemeClr val="accent1">
                  <a:lumMod val="75000"/>
                </a:schemeClr>
              </a:solidFill>
              <a:latin typeface="Arial"/>
              <a:ea typeface="ＭＳ Ｐゴシック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63FB7C-A70B-4F94-B333-850305C078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8</a:t>
            </a:fld>
            <a:endParaRPr lang="en-US" dirty="0"/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8BA45CD3-E120-4E4A-B233-7C684CF5B5D0}"/>
              </a:ext>
            </a:extLst>
          </p:cNvPr>
          <p:cNvGraphicFramePr/>
          <p:nvPr/>
        </p:nvGraphicFramePr>
        <p:xfrm>
          <a:off x="1516108" y="2399169"/>
          <a:ext cx="9628957" cy="16652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2ACC5AE-D204-4C11-BB83-97E9A79478EB}"/>
              </a:ext>
            </a:extLst>
          </p:cNvPr>
          <p:cNvCxnSpPr>
            <a:cxnSpLocks/>
          </p:cNvCxnSpPr>
          <p:nvPr/>
        </p:nvCxnSpPr>
        <p:spPr>
          <a:xfrm flipV="1">
            <a:off x="1637414" y="3838354"/>
            <a:ext cx="3189767" cy="1750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57E0768-3EC0-48AD-B944-39C933A670A2}"/>
              </a:ext>
            </a:extLst>
          </p:cNvPr>
          <p:cNvCxnSpPr>
            <a:cxnSpLocks/>
          </p:cNvCxnSpPr>
          <p:nvPr/>
        </p:nvCxnSpPr>
        <p:spPr>
          <a:xfrm flipH="1" flipV="1">
            <a:off x="6684320" y="3771027"/>
            <a:ext cx="743196" cy="4961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C754F19-CEAF-4A33-900A-E88C01F41A51}"/>
              </a:ext>
            </a:extLst>
          </p:cNvPr>
          <p:cNvCxnSpPr>
            <a:cxnSpLocks/>
          </p:cNvCxnSpPr>
          <p:nvPr/>
        </p:nvCxnSpPr>
        <p:spPr>
          <a:xfrm flipH="1" flipV="1">
            <a:off x="7427516" y="3856066"/>
            <a:ext cx="3381877" cy="4309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4E1FE72-DC09-43A8-A844-17A1809407A5}"/>
              </a:ext>
            </a:extLst>
          </p:cNvPr>
          <p:cNvCxnSpPr>
            <a:cxnSpLocks/>
          </p:cNvCxnSpPr>
          <p:nvPr/>
        </p:nvCxnSpPr>
        <p:spPr>
          <a:xfrm flipV="1">
            <a:off x="4837804" y="3828838"/>
            <a:ext cx="618971" cy="1845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50" name="TextBox 249">
            <a:extLst>
              <a:ext uri="{FF2B5EF4-FFF2-40B4-BE49-F238E27FC236}">
                <a16:creationId xmlns:a16="http://schemas.microsoft.com/office/drawing/2014/main" id="{6A5A2FB9-5D73-4F40-85F2-51AB422D8336}"/>
              </a:ext>
            </a:extLst>
          </p:cNvPr>
          <p:cNvSpPr txBox="1"/>
          <p:nvPr/>
        </p:nvSpPr>
        <p:spPr>
          <a:xfrm>
            <a:off x="4837804" y="1750618"/>
            <a:ext cx="14628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y-GB" sz="1200" dirty="0"/>
              <a:t>Llunio'r mynegai cyfeiriadau</a:t>
            </a:r>
            <a:endParaRPr lang="en-GB" sz="1200" dirty="0"/>
          </a:p>
          <a:p>
            <a:endParaRPr lang="en-GB" sz="1200" dirty="0"/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BA789421-024F-4EDF-B3A3-0B8AC6E23A05}"/>
              </a:ext>
            </a:extLst>
          </p:cNvPr>
          <p:cNvSpPr txBox="1"/>
          <p:nvPr/>
        </p:nvSpPr>
        <p:spPr>
          <a:xfrm>
            <a:off x="6019023" y="1727539"/>
            <a:ext cx="15614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y-GB" sz="1200" dirty="0"/>
              <a:t>Diwygio'r mynegai cyfeiriadau</a:t>
            </a:r>
            <a:endParaRPr lang="en-GB" sz="1200" dirty="0"/>
          </a:p>
          <a:p>
            <a:endParaRPr lang="en-GB" sz="1200" dirty="0"/>
          </a:p>
        </p:txBody>
      </p:sp>
      <p:cxnSp>
        <p:nvCxnSpPr>
          <p:cNvPr id="252" name="Straight Arrow Connector 251">
            <a:extLst>
              <a:ext uri="{FF2B5EF4-FFF2-40B4-BE49-F238E27FC236}">
                <a16:creationId xmlns:a16="http://schemas.microsoft.com/office/drawing/2014/main" id="{637253D4-62DC-4C6A-9DEA-46D35F28E7AE}"/>
              </a:ext>
            </a:extLst>
          </p:cNvPr>
          <p:cNvCxnSpPr>
            <a:cxnSpLocks/>
            <a:stCxn id="250" idx="2"/>
          </p:cNvCxnSpPr>
          <p:nvPr/>
        </p:nvCxnSpPr>
        <p:spPr>
          <a:xfrm>
            <a:off x="5569241" y="2207001"/>
            <a:ext cx="173595" cy="513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Arrow Connector 253">
            <a:extLst>
              <a:ext uri="{FF2B5EF4-FFF2-40B4-BE49-F238E27FC236}">
                <a16:creationId xmlns:a16="http://schemas.microsoft.com/office/drawing/2014/main" id="{E8E0DDE4-6BAF-4559-8F00-C5D95EFA3C17}"/>
              </a:ext>
            </a:extLst>
          </p:cNvPr>
          <p:cNvCxnSpPr>
            <a:cxnSpLocks/>
            <a:stCxn id="178" idx="2"/>
          </p:cNvCxnSpPr>
          <p:nvPr/>
        </p:nvCxnSpPr>
        <p:spPr>
          <a:xfrm flipH="1">
            <a:off x="6584247" y="2151334"/>
            <a:ext cx="215524" cy="5152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TextBox 257">
            <a:extLst>
              <a:ext uri="{FF2B5EF4-FFF2-40B4-BE49-F238E27FC236}">
                <a16:creationId xmlns:a16="http://schemas.microsoft.com/office/drawing/2014/main" id="{E8CE2A4A-0A92-4199-8380-6877F361DEC4}"/>
              </a:ext>
            </a:extLst>
          </p:cNvPr>
          <p:cNvSpPr txBox="1"/>
          <p:nvPr/>
        </p:nvSpPr>
        <p:spPr>
          <a:xfrm>
            <a:off x="5157681" y="2269519"/>
            <a:ext cx="11685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y-GB" sz="1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  Recriwtio</a:t>
            </a:r>
            <a:endParaRPr lang="en-GB" sz="1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endParaRPr lang="en-GB" sz="1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60" name="Straight Arrow Connector 259">
            <a:extLst>
              <a:ext uri="{FF2B5EF4-FFF2-40B4-BE49-F238E27FC236}">
                <a16:creationId xmlns:a16="http://schemas.microsoft.com/office/drawing/2014/main" id="{108B437B-746D-499A-968F-43E267202625}"/>
              </a:ext>
            </a:extLst>
          </p:cNvPr>
          <p:cNvCxnSpPr>
            <a:cxnSpLocks/>
          </p:cNvCxnSpPr>
          <p:nvPr/>
        </p:nvCxnSpPr>
        <p:spPr>
          <a:xfrm flipH="1">
            <a:off x="4986395" y="2539014"/>
            <a:ext cx="128124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Arrow Connector 271">
            <a:extLst>
              <a:ext uri="{FF2B5EF4-FFF2-40B4-BE49-F238E27FC236}">
                <a16:creationId xmlns:a16="http://schemas.microsoft.com/office/drawing/2014/main" id="{3E9E5098-7635-48C3-9E51-22FEBE51FC1F}"/>
              </a:ext>
            </a:extLst>
          </p:cNvPr>
          <p:cNvCxnSpPr>
            <a:stCxn id="97" idx="2"/>
          </p:cNvCxnSpPr>
          <p:nvPr/>
        </p:nvCxnSpPr>
        <p:spPr>
          <a:xfrm>
            <a:off x="2902711" y="2069940"/>
            <a:ext cx="0" cy="6509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Arrow Connector 273">
            <a:extLst>
              <a:ext uri="{FF2B5EF4-FFF2-40B4-BE49-F238E27FC236}">
                <a16:creationId xmlns:a16="http://schemas.microsoft.com/office/drawing/2014/main" id="{C5B5C474-C709-4E07-A49E-091742CF039F}"/>
              </a:ext>
            </a:extLst>
          </p:cNvPr>
          <p:cNvCxnSpPr>
            <a:stCxn id="100" idx="2"/>
          </p:cNvCxnSpPr>
          <p:nvPr/>
        </p:nvCxnSpPr>
        <p:spPr>
          <a:xfrm>
            <a:off x="4332442" y="2084886"/>
            <a:ext cx="1" cy="6015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Arrow Connector 275">
            <a:extLst>
              <a:ext uri="{FF2B5EF4-FFF2-40B4-BE49-F238E27FC236}">
                <a16:creationId xmlns:a16="http://schemas.microsoft.com/office/drawing/2014/main" id="{A609DCE8-9BCB-4318-A9FA-456905A205D6}"/>
              </a:ext>
            </a:extLst>
          </p:cNvPr>
          <p:cNvCxnSpPr>
            <a:cxnSpLocks/>
            <a:stCxn id="99" idx="2"/>
          </p:cNvCxnSpPr>
          <p:nvPr/>
        </p:nvCxnSpPr>
        <p:spPr>
          <a:xfrm flipH="1">
            <a:off x="6775271" y="1771376"/>
            <a:ext cx="4550" cy="9495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78" name="Straight Arrow Connector 277">
            <a:extLst>
              <a:ext uri="{FF2B5EF4-FFF2-40B4-BE49-F238E27FC236}">
                <a16:creationId xmlns:a16="http://schemas.microsoft.com/office/drawing/2014/main" id="{9CAC309D-432D-4EFF-AD61-4CA138E1ABC1}"/>
              </a:ext>
            </a:extLst>
          </p:cNvPr>
          <p:cNvCxnSpPr>
            <a:cxnSpLocks/>
            <a:stCxn id="108" idx="2"/>
          </p:cNvCxnSpPr>
          <p:nvPr/>
        </p:nvCxnSpPr>
        <p:spPr>
          <a:xfrm flipH="1">
            <a:off x="7306324" y="1993972"/>
            <a:ext cx="658312" cy="6924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Arrow Connector 279">
            <a:extLst>
              <a:ext uri="{FF2B5EF4-FFF2-40B4-BE49-F238E27FC236}">
                <a16:creationId xmlns:a16="http://schemas.microsoft.com/office/drawing/2014/main" id="{0128BC01-F5A3-4A8B-8CA0-5D7937BB2F08}"/>
              </a:ext>
            </a:extLst>
          </p:cNvPr>
          <p:cNvCxnSpPr/>
          <p:nvPr/>
        </p:nvCxnSpPr>
        <p:spPr>
          <a:xfrm>
            <a:off x="9046346" y="2546518"/>
            <a:ext cx="164236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6992775-2BB8-491F-A916-80870BF31BF7}"/>
              </a:ext>
            </a:extLst>
          </p:cNvPr>
          <p:cNvSpPr txBox="1"/>
          <p:nvPr/>
        </p:nvSpPr>
        <p:spPr>
          <a:xfrm>
            <a:off x="0" y="186150"/>
            <a:ext cx="120905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y-GB" sz="2800" b="1" dirty="0">
                <a:solidFill>
                  <a:schemeClr val="tx2"/>
                </a:solidFill>
              </a:rPr>
              <a:t>Amserlen Cyfrifiad 2021</a:t>
            </a:r>
            <a:endParaRPr lang="en-GB" sz="2800" b="1" dirty="0">
              <a:solidFill>
                <a:schemeClr val="tx2"/>
              </a:solidFill>
            </a:endParaRPr>
          </a:p>
          <a:p>
            <a:pPr algn="ctr"/>
            <a:endParaRPr lang="en-GB" sz="1400" b="1" dirty="0">
              <a:solidFill>
                <a:schemeClr val="accent6">
                  <a:lumMod val="60000"/>
                  <a:lumOff val="40000"/>
                </a:schemeClr>
              </a:solidFill>
              <a:latin typeface="Arial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200643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FFF7AF1-5915-483F-A1FC-96D96C179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8338"/>
            <a:ext cx="10815084" cy="2086725"/>
          </a:xfrm>
        </p:spPr>
        <p:txBody>
          <a:bodyPr/>
          <a:lstStyle/>
          <a:p>
            <a:r>
              <a:rPr lang="cy-GB" dirty="0">
                <a:solidFill>
                  <a:schemeClr val="tx2"/>
                </a:solidFill>
              </a:rPr>
              <a:t>Ble mae angen eich help arnom ni…</a:t>
            </a:r>
            <a:br>
              <a:rPr lang="en-GB" dirty="0"/>
            </a:b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4F49499-E9D2-499F-AD40-69AF5F23A4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9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1FEF96-8EA7-4218-8569-86A3255EDF85}"/>
              </a:ext>
            </a:extLst>
          </p:cNvPr>
          <p:cNvSpPr txBox="1"/>
          <p:nvPr/>
        </p:nvSpPr>
        <p:spPr>
          <a:xfrm>
            <a:off x="2933529" y="1695958"/>
            <a:ext cx="64706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y-GB" sz="2400" b="1" dirty="0">
                <a:solidFill>
                  <a:schemeClr val="accent1"/>
                </a:solidFill>
              </a:rPr>
              <a:t>Naw elfen gweithio mewn partneriaeth</a:t>
            </a:r>
            <a:endParaRPr lang="en-GB" sz="2400" b="1" dirty="0">
              <a:solidFill>
                <a:schemeClr val="accent1"/>
              </a:solidFill>
            </a:endParaRPr>
          </a:p>
          <a:p>
            <a:endParaRPr lang="en-GB" sz="2400" b="1" dirty="0">
              <a:solidFill>
                <a:schemeClr val="accent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8B0E97-D966-4838-B185-0D9045FA5F4E}"/>
              </a:ext>
            </a:extLst>
          </p:cNvPr>
          <p:cNvSpPr txBox="1"/>
          <p:nvPr/>
        </p:nvSpPr>
        <p:spPr>
          <a:xfrm>
            <a:off x="2954866" y="2119357"/>
            <a:ext cx="77946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1. </a:t>
            </a:r>
            <a:r>
              <a:rPr lang="cy-GB" dirty="0"/>
              <a:t>Datblygu mynegai cyfeiriadau er mwyn sicrhau ein bod yn cyrraedd cynifer o bobl â phosibl.</a:t>
            </a:r>
          </a:p>
          <a:p>
            <a:r>
              <a:rPr lang="en-GB" b="1" dirty="0">
                <a:solidFill>
                  <a:schemeClr val="tx2"/>
                </a:solidFill>
              </a:rPr>
              <a:t>2. </a:t>
            </a:r>
            <a:r>
              <a:rPr lang="cy-GB" dirty="0"/>
              <a:t>Darparu gwybodaeth leol er mwyn nodi heriau lleol a'u targedu.</a:t>
            </a:r>
            <a:br>
              <a:rPr lang="cy-GB" dirty="0"/>
            </a:br>
            <a:r>
              <a:rPr lang="en-GB" b="1" dirty="0">
                <a:solidFill>
                  <a:schemeClr val="tx2"/>
                </a:solidFill>
              </a:rPr>
              <a:t>3. </a:t>
            </a:r>
            <a:r>
              <a:rPr lang="cy-GB" dirty="0"/>
              <a:t>Nodi a rhannu cysylltiadau yn y gymuned leol.</a:t>
            </a:r>
            <a:br>
              <a:rPr lang="cy-GB" dirty="0"/>
            </a:br>
            <a:r>
              <a:rPr lang="en-GB" b="1" dirty="0">
                <a:solidFill>
                  <a:schemeClr val="tx2"/>
                </a:solidFill>
              </a:rPr>
              <a:t>4. </a:t>
            </a:r>
            <a:r>
              <a:rPr lang="cy-GB" dirty="0"/>
              <a:t>Ein helpu i recriwtio staff maes.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13159D-CFE3-46C8-B8B3-D64AD8F92F72}"/>
              </a:ext>
            </a:extLst>
          </p:cNvPr>
          <p:cNvSpPr txBox="1"/>
          <p:nvPr/>
        </p:nvSpPr>
        <p:spPr>
          <a:xfrm>
            <a:off x="2954866" y="3574249"/>
            <a:ext cx="90173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3"/>
                </a:solidFill>
              </a:rPr>
              <a:t>5. </a:t>
            </a:r>
            <a:r>
              <a:rPr lang="cy-GB" dirty="0"/>
              <a:t>Cynnig cymorth ymarferol mewn perthynas â'r gweithrediad maes (er enghraifft, ystafelloedd cyfarfod).</a:t>
            </a:r>
            <a:br>
              <a:rPr lang="cy-GB" dirty="0"/>
            </a:br>
            <a:r>
              <a:rPr lang="en-GB" b="1" dirty="0">
                <a:solidFill>
                  <a:schemeClr val="accent3"/>
                </a:solidFill>
              </a:rPr>
              <a:t>6. </a:t>
            </a:r>
            <a:r>
              <a:rPr lang="cy-GB" dirty="0"/>
              <a:t>Cefnogi pobl i gwblhau'r cyfrifiad ar lein a chefnogi Canolfannau Cymorth y Cyfrifiad.</a:t>
            </a:r>
            <a:br>
              <a:rPr lang="cy-GB" dirty="0"/>
            </a:br>
            <a:r>
              <a:rPr lang="en-GB" b="1" dirty="0">
                <a:solidFill>
                  <a:schemeClr val="accent3"/>
                </a:solidFill>
              </a:rPr>
              <a:t>7. </a:t>
            </a:r>
            <a:r>
              <a:rPr lang="cy-GB" dirty="0"/>
              <a:t>Cefnogi cyhoeddusrwydd lleol a chysylltiadau â'r cyfryngau.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AD9B56-0C1F-402D-9E75-BA5A9CF5DB43}"/>
              </a:ext>
            </a:extLst>
          </p:cNvPr>
          <p:cNvSpPr txBox="1"/>
          <p:nvPr/>
        </p:nvSpPr>
        <p:spPr>
          <a:xfrm>
            <a:off x="2954866" y="4734462"/>
            <a:ext cx="75946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4"/>
                </a:solidFill>
              </a:rPr>
              <a:t>8. </a:t>
            </a:r>
            <a:r>
              <a:rPr lang="cy-GB" dirty="0"/>
              <a:t>Darparu gwybodaeth leol er mwyn cefnogi gwaith sicrhau ansawdd.</a:t>
            </a:r>
            <a:br>
              <a:rPr lang="cy-GB" dirty="0"/>
            </a:br>
            <a:r>
              <a:rPr lang="en-GB" b="1" dirty="0">
                <a:solidFill>
                  <a:schemeClr val="accent4"/>
                </a:solidFill>
              </a:rPr>
              <a:t>9. </a:t>
            </a:r>
            <a:r>
              <a:rPr lang="cy-GB" dirty="0"/>
              <a:t>Gwneud y defnydd gorau o wybodaeth o'r cyfrifiad mewn awdurdodau lleol a chefnogi cymunedau lleol i ddefnyddio data'r cyfrifiad.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7CDF425-2C19-4B58-B560-CF3AC951E367}"/>
              </a:ext>
            </a:extLst>
          </p:cNvPr>
          <p:cNvGrpSpPr/>
          <p:nvPr/>
        </p:nvGrpSpPr>
        <p:grpSpPr>
          <a:xfrm>
            <a:off x="934853" y="2183024"/>
            <a:ext cx="1555334" cy="3658740"/>
            <a:chOff x="7650573" y="1902695"/>
            <a:chExt cx="1555334" cy="365874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07F0437-8EFD-41AD-97AF-BBBC0F1D5537}"/>
                </a:ext>
              </a:extLst>
            </p:cNvPr>
            <p:cNvSpPr/>
            <p:nvPr/>
          </p:nvSpPr>
          <p:spPr>
            <a:xfrm>
              <a:off x="7650573" y="1902695"/>
              <a:ext cx="1555334" cy="92333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ctr"/>
              <a:r>
                <a:rPr lang="cy-GB" dirty="0"/>
                <a:t>Paratoi</a:t>
              </a:r>
              <a:endParaRPr lang="en-GB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FC94256-C5D4-49CF-83D3-9D1E6CA972EF}"/>
                </a:ext>
              </a:extLst>
            </p:cNvPr>
            <p:cNvSpPr/>
            <p:nvPr/>
          </p:nvSpPr>
          <p:spPr>
            <a:xfrm>
              <a:off x="7650573" y="3039685"/>
              <a:ext cx="1555334" cy="923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ctr"/>
              <a:r>
                <a:rPr lang="cy-GB" dirty="0"/>
                <a:t>Ymateb</a:t>
              </a:r>
              <a:endParaRPr lang="en-GB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B1C703F-8D6D-4422-BE00-071E178A6EDB}"/>
                </a:ext>
              </a:extLst>
            </p:cNvPr>
            <p:cNvSpPr/>
            <p:nvPr/>
          </p:nvSpPr>
          <p:spPr>
            <a:xfrm>
              <a:off x="7650573" y="4185148"/>
              <a:ext cx="1555334" cy="92333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ctr"/>
              <a:r>
                <a:rPr lang="cy-GB" dirty="0"/>
                <a:t>Allbynnau</a:t>
              </a:r>
              <a:endParaRPr lang="en-GB" dirty="0"/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F0945E3D-0E31-4314-AAC7-3375E848A54F}"/>
                </a:ext>
              </a:extLst>
            </p:cNvPr>
            <p:cNvSpPr/>
            <p:nvPr/>
          </p:nvSpPr>
          <p:spPr>
            <a:xfrm rot="10800000">
              <a:off x="7650573" y="5099770"/>
              <a:ext cx="1555334" cy="461665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CC15580E-DC8B-41E1-B81B-67B71F2249D5}"/>
                </a:ext>
              </a:extLst>
            </p:cNvPr>
            <p:cNvSpPr/>
            <p:nvPr/>
          </p:nvSpPr>
          <p:spPr>
            <a:xfrm rot="10800000">
              <a:off x="7650573" y="1903763"/>
              <a:ext cx="1555334" cy="46166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29122BBD-5859-46F4-B07A-04397024B5EC}"/>
                </a:ext>
              </a:extLst>
            </p:cNvPr>
            <p:cNvSpPr/>
            <p:nvPr/>
          </p:nvSpPr>
          <p:spPr>
            <a:xfrm rot="10800000">
              <a:off x="7650573" y="3028146"/>
              <a:ext cx="1555334" cy="46166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" name="Isosceles Triangle 3">
              <a:extLst>
                <a:ext uri="{FF2B5EF4-FFF2-40B4-BE49-F238E27FC236}">
                  <a16:creationId xmlns:a16="http://schemas.microsoft.com/office/drawing/2014/main" id="{A823930B-E858-41B8-9963-1DC05C67697E}"/>
                </a:ext>
              </a:extLst>
            </p:cNvPr>
            <p:cNvSpPr/>
            <p:nvPr/>
          </p:nvSpPr>
          <p:spPr>
            <a:xfrm rot="10800000">
              <a:off x="7650573" y="2826260"/>
              <a:ext cx="1555334" cy="461665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F495635F-FA8D-43D9-B8D7-45B73FBF4F08}"/>
                </a:ext>
              </a:extLst>
            </p:cNvPr>
            <p:cNvSpPr/>
            <p:nvPr/>
          </p:nvSpPr>
          <p:spPr>
            <a:xfrm rot="10800000">
              <a:off x="7650573" y="4176440"/>
              <a:ext cx="1555334" cy="46166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9FEFD2CE-F4EF-4D80-AEFE-A60D68627BB8}"/>
                </a:ext>
              </a:extLst>
            </p:cNvPr>
            <p:cNvSpPr/>
            <p:nvPr/>
          </p:nvSpPr>
          <p:spPr>
            <a:xfrm rot="10800000">
              <a:off x="7650573" y="3963015"/>
              <a:ext cx="1555334" cy="461665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970515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l28gT34EaatmFbQLX8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ManlSmkkyXbySeOgaN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6htGNyNEiFSR4fz6AA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vhOsdDnUax1X10JSBn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vhOsdDnUax1X10JSBn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ManlSmkkyXbySeOgaN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vhOsdDnUax1X10JSBn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vhOsdDnUax1X10JSBn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ManlSmkkyXbySeOgaNRw"/>
</p:tagLst>
</file>

<file path=ppt/theme/theme1.xml><?xml version="1.0" encoding="utf-8"?>
<a:theme xmlns:a="http://schemas.openxmlformats.org/drawingml/2006/main" name="ONS">
  <a:themeElements>
    <a:clrScheme name="Census 2021">
      <a:dk1>
        <a:srgbClr val="000000"/>
      </a:dk1>
      <a:lt1>
        <a:srgbClr val="FFFFFF"/>
      </a:lt1>
      <a:dk2>
        <a:srgbClr val="902082"/>
      </a:dk2>
      <a:lt2>
        <a:srgbClr val="FFFFFF"/>
      </a:lt2>
      <a:accent1>
        <a:srgbClr val="3C388E"/>
      </a:accent1>
      <a:accent2>
        <a:srgbClr val="902082"/>
      </a:accent2>
      <a:accent3>
        <a:srgbClr val="00A3A6"/>
      </a:accent3>
      <a:accent4>
        <a:srgbClr val="DF0667"/>
      </a:accent4>
      <a:accent5>
        <a:srgbClr val="3C388E"/>
      </a:accent5>
      <a:accent6>
        <a:srgbClr val="902082"/>
      </a:accent6>
      <a:hlink>
        <a:srgbClr val="000000"/>
      </a:hlink>
      <a:folHlink>
        <a:srgbClr val="DF066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NS" id="{1C231B32-0884-3042-9BFB-024487A7874D}" vid="{960FFF6B-BC53-4D45-8823-25DBFE97B23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5359087ad404c199aee74686ab194d3 xmlns="e14115de-03ae-49b5-af01-31035404c456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ogramme and Project</TermName>
          <TermId xmlns="http://schemas.microsoft.com/office/infopath/2007/PartnerControls">96356c75-f26d-45f0-a4b1-e809250f704c</TermId>
        </TermInfo>
      </Terms>
    </o5359087ad404c199aee74686ab194d3>
    <TaxKeywordTaxHTField xmlns="e14115de-03ae-49b5-af01-31035404c456">
      <Terms xmlns="http://schemas.microsoft.com/office/infopath/2007/PartnerControls"/>
    </TaxKeywordTaxHTField>
    <Retention xmlns="11db2dc9-1d1c-45eb-8b5b-ac58ae3319db">0</Retention>
    <EDRMSOwner xmlns="11db2dc9-1d1c-45eb-8b5b-ac58ae3319db" xsi:nil="true"/>
    <_dlc_DocId xmlns="37655e2e-3ff4-440c-aed8-80b3c3e7d4fa">Q566TXFWFPHE-293479635-60749</_dlc_DocId>
    <_dlc_DocIdUrl xmlns="37655e2e-3ff4-440c-aed8-80b3c3e7d4fa">
      <Url>https://share.sp.ons.statistics.gov.uk/sites/cen/coms/_layouts/15/DocIdRedir.aspx?ID=Q566TXFWFPHE-293479635-60749</Url>
      <Description>Q566TXFWFPHE-293479635-60749</Description>
    </_dlc_DocIdUrl>
    <RetentionType xmlns="11db2dc9-1d1c-45eb-8b5b-ac58ae3319db">Notify</RetentionType>
    <IconOverlay xmlns="http://schemas.microsoft.com/sharepoint/v4" xsi:nil="true"/>
    <TaxCatchAll xmlns="e14115de-03ae-49b5-af01-31035404c456">
      <Value>1</Value>
    </TaxCatchAll>
    <RetentionDate xmlns="11db2dc9-1d1c-45eb-8b5b-ac58ae3319d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ONS Document" ma:contentTypeID="0x01010035E33599CC8D1E47A037F474646B1D58001B56DA43EA564C4BBA0FD92A69799A1D" ma:contentTypeVersion="1" ma:contentTypeDescription="Create a new document." ma:contentTypeScope="" ma:versionID="f4b1e8849c63b8edc7d8af398b8f4524">
  <xsd:schema xmlns:xsd="http://www.w3.org/2001/XMLSchema" xmlns:xs="http://www.w3.org/2001/XMLSchema" xmlns:p="http://schemas.microsoft.com/office/2006/metadata/properties" xmlns:ns1="http://schemas.microsoft.com/sharepoint/v3" xmlns:ns3="e14115de-03ae-49b5-af01-31035404c456" xmlns:ns4="11db2dc9-1d1c-45eb-8b5b-ac58ae3319db" xmlns:ns5="37655e2e-3ff4-440c-aed8-80b3c3e7d4fa" xmlns:ns6="http://schemas.microsoft.com/sharepoint/v4" targetNamespace="http://schemas.microsoft.com/office/2006/metadata/properties" ma:root="true" ma:fieldsID="cd98bc5ce6cbb2a69e0f6751962452e9" ns1:_="" ns3:_="" ns4:_="" ns5:_="" ns6:_="">
    <xsd:import namespace="http://schemas.microsoft.com/sharepoint/v3"/>
    <xsd:import namespace="e14115de-03ae-49b5-af01-31035404c456"/>
    <xsd:import namespace="11db2dc9-1d1c-45eb-8b5b-ac58ae3319db"/>
    <xsd:import namespace="37655e2e-3ff4-440c-aed8-80b3c3e7d4fa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3:TaxCatchAll" minOccurs="0"/>
                <xsd:element ref="ns3:TaxCatchAllLabel" minOccurs="0"/>
                <xsd:element ref="ns3:o5359087ad404c199aee74686ab194d3" minOccurs="0"/>
                <xsd:element ref="ns4:RetentionDate" minOccurs="0"/>
                <xsd:element ref="ns4:Retention" minOccurs="0"/>
                <xsd:element ref="ns4:EDRMSOwner" minOccurs="0"/>
                <xsd:element ref="ns4:RetentionType" minOccurs="0"/>
                <xsd:element ref="ns3:TaxKeywordTaxHTField" minOccurs="0"/>
                <xsd:element ref="ns1:_dlc_Exempt" minOccurs="0"/>
                <xsd:element ref="ns1:_dlc_ExpireDateSaved" minOccurs="0"/>
                <xsd:element ref="ns1:_dlc_ExpireDate" minOccurs="0"/>
                <xsd:element ref="ns5:_dlc_DocId" minOccurs="0"/>
                <xsd:element ref="ns5:_dlc_DocIdUrl" minOccurs="0"/>
                <xsd:element ref="ns5:_dlc_DocIdPersistId" minOccurs="0"/>
                <xsd:element ref="ns6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8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19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20" nillable="true" ma:displayName="Expiration Date" ma:description="" ma:hidden="true" ma:indexed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4115de-03ae-49b5-af01-31035404c456" elementFormDefault="qualified">
    <xsd:import namespace="http://schemas.microsoft.com/office/2006/documentManagement/types"/>
    <xsd:import namespace="http://schemas.microsoft.com/office/infopath/2007/PartnerControls"/>
    <xsd:element name="TaxCatchAll" ma:index="7" nillable="true" ma:displayName="Taxonomy Catch All Column" ma:hidden="true" ma:list="{958ef704-3e70-4a59-9188-fb81b25c3425}" ma:internalName="TaxCatchAll" ma:showField="CatchAllData" ma:web="a0476314-f03c-430e-9769-a13e77a4dd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8" nillable="true" ma:displayName="Taxonomy Catch All Column1" ma:hidden="true" ma:list="{958ef704-3e70-4a59-9188-fb81b25c3425}" ma:internalName="TaxCatchAllLabel" ma:readOnly="true" ma:showField="CatchAllDataLabel" ma:web="a0476314-f03c-430e-9769-a13e77a4dd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5359087ad404c199aee74686ab194d3" ma:index="9" ma:taxonomy="true" ma:internalName="o5359087ad404c199aee74686ab194d3" ma:taxonomyFieldName="RecordType" ma:displayName="Record Type" ma:readOnly="false" ma:default="" ma:fieldId="{85359087-ad40-4c19-9aee-74686ab194d3}" ma:sspId="a7dd7a64-f5c5-4f30-b8c4-f5626f639d1b" ma:termSetId="b7884471-767e-4886-9e04-df700fa96fc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16" nillable="true" ma:taxonomy="true" ma:internalName="TaxKeywordTaxHTField" ma:taxonomyFieldName="TaxKeyword" ma:displayName="Enterprise Keywords" ma:fieldId="{23f27201-bee3-471e-b2e7-b64fd8b7ca38}" ma:taxonomyMulti="true" ma:sspId="a7dd7a64-f5c5-4f30-b8c4-f5626f639d1b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db2dc9-1d1c-45eb-8b5b-ac58ae3319db" elementFormDefault="qualified">
    <xsd:import namespace="http://schemas.microsoft.com/office/2006/documentManagement/types"/>
    <xsd:import namespace="http://schemas.microsoft.com/office/infopath/2007/PartnerControls"/>
    <xsd:element name="RetentionDate" ma:index="12" nillable="true" ma:displayName="Retention Date" ma:format="DateOnly" ma:internalName="Retention_x0020_Date" ma:readOnly="false">
      <xsd:simpleType>
        <xsd:restriction base="dms:DateTime"/>
      </xsd:simpleType>
    </xsd:element>
    <xsd:element name="Retention" ma:index="13" nillable="true" ma:displayName="Retention" ma:default="0" ma:internalName="Retention" ma:readOnly="false">
      <xsd:simpleType>
        <xsd:restriction base="dms:Number"/>
      </xsd:simpleType>
    </xsd:element>
    <xsd:element name="EDRMSOwner" ma:index="14" nillable="true" ma:displayName="EDRMSOwner" ma:hidden="true" ma:internalName="EDRMSOwner" ma:readOnly="false">
      <xsd:simpleType>
        <xsd:restriction base="dms:Text"/>
      </xsd:simpleType>
    </xsd:element>
    <xsd:element name="RetentionType" ma:index="15" nillable="true" ma:displayName="Retention Type" ma:default="Notify" ma:internalName="Retention_x0020_Type" ma:readOnly="false">
      <xsd:simpleType>
        <xsd:restriction base="dms:Choice">
          <xsd:enumeration value="Notify"/>
          <xsd:enumeration value="Delete"/>
          <xsd:enumeration value="Declar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655e2e-3ff4-440c-aed8-80b3c3e7d4fa" elementFormDefault="qualified">
    <xsd:import namespace="http://schemas.microsoft.com/office/2006/documentManagement/types"/>
    <xsd:import namespace="http://schemas.microsoft.com/office/infopath/2007/PartnerControls"/>
    <xsd:element name="_dlc_DocId" ma:index="2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3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4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p:Policy xmlns:p="office.server.policy" id="" local="true">
  <p:Name>ONS Document</p:Name>
  <p:Description/>
  <p:Statement/>
  <p:PolicyItems>
    <p:PolicyItem featureId="Microsoft.Office.RecordsManagement.PolicyFeatures.Expiration" staticId="0x01010035E33599CC8D1E47A037F474646B1D58|2057524105" UniqueId="d097a687-1114-45fc-89d8-799351d0ef20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Microsoft.Office.RecordsManagement.PolicyFeatures.Expiration.Formula.BuiltIn">
                  <number>100</number>
                  <property>Retention_x0020_Date</property>
                  <period>years</period>
                </formula>
                <action type="action" id="ONS-RetentionAction"/>
              </data>
            </stages>
          </Schedule>
        </Schedules>
      </p:CustomData>
    </p:PolicyItem>
  </p:PolicyItems>
</p:Policy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?mso-contentType ?>
<SharedContentType xmlns="Microsoft.SharePoint.Taxonomy.ContentTypeSync" SourceId="a7dd7a64-f5c5-4f30-b8c4-f5626f639d1b" ContentTypeId="0x01010035E33599CC8D1E47A037F474646B1D58" PreviousValue="false"/>
</file>

<file path=customXml/itemProps1.xml><?xml version="1.0" encoding="utf-8"?>
<ds:datastoreItem xmlns:ds="http://schemas.openxmlformats.org/officeDocument/2006/customXml" ds:itemID="{AF6A2469-FE06-4224-849E-B493900CD31C}">
  <ds:schemaRefs>
    <ds:schemaRef ds:uri="http://schemas.microsoft.com/sharepoint/v3"/>
    <ds:schemaRef ds:uri="http://purl.org/dc/terms/"/>
    <ds:schemaRef ds:uri="http://purl.org/dc/dcmitype/"/>
    <ds:schemaRef ds:uri="http://schemas.microsoft.com/office/infopath/2007/PartnerControls"/>
    <ds:schemaRef ds:uri="a0476314-f03c-430e-9769-a13e77a4dd6f"/>
    <ds:schemaRef ds:uri="http://schemas.microsoft.com/office/2006/documentManagement/types"/>
    <ds:schemaRef ds:uri="http://schemas.microsoft.com/office/2006/metadata/properties"/>
    <ds:schemaRef ds:uri="e14115de-03ae-49b5-af01-31035404c456"/>
    <ds:schemaRef ds:uri="http://schemas.openxmlformats.org/package/2006/metadata/core-properties"/>
    <ds:schemaRef ds:uri="797d01ea-dbdd-4c78-9485-c2c916ba85b6"/>
    <ds:schemaRef ds:uri="http://www.w3.org/XML/1998/namespace"/>
    <ds:schemaRef ds:uri="http://purl.org/dc/elements/1.1/"/>
    <ds:schemaRef ds:uri="11db2dc9-1d1c-45eb-8b5b-ac58ae3319db"/>
    <ds:schemaRef ds:uri="37655e2e-3ff4-440c-aed8-80b3c3e7d4fa"/>
    <ds:schemaRef ds:uri="http://schemas.microsoft.com/sharepoint/v4"/>
  </ds:schemaRefs>
</ds:datastoreItem>
</file>

<file path=customXml/itemProps2.xml><?xml version="1.0" encoding="utf-8"?>
<ds:datastoreItem xmlns:ds="http://schemas.openxmlformats.org/officeDocument/2006/customXml" ds:itemID="{6AE6D6D7-3A32-4FC7-B234-7A3DBDE4B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14115de-03ae-49b5-af01-31035404c456"/>
    <ds:schemaRef ds:uri="11db2dc9-1d1c-45eb-8b5b-ac58ae3319db"/>
    <ds:schemaRef ds:uri="37655e2e-3ff4-440c-aed8-80b3c3e7d4fa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2A9BF49-7F2D-4FE6-8CCC-C0FBB9F1A1A6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8C0974C7-63CA-445E-A285-34AD734F146C}">
  <ds:schemaRefs>
    <ds:schemaRef ds:uri="office.server.policy"/>
  </ds:schemaRefs>
</ds:datastoreItem>
</file>

<file path=customXml/itemProps5.xml><?xml version="1.0" encoding="utf-8"?>
<ds:datastoreItem xmlns:ds="http://schemas.openxmlformats.org/officeDocument/2006/customXml" ds:itemID="{88FFC4DA-FEA6-43AC-AB5B-6951AD397C7E}">
  <ds:schemaRefs>
    <ds:schemaRef ds:uri="http://schemas.microsoft.com/office/2006/metadata/customXsn"/>
  </ds:schemaRefs>
</ds:datastoreItem>
</file>

<file path=customXml/itemProps6.xml><?xml version="1.0" encoding="utf-8"?>
<ds:datastoreItem xmlns:ds="http://schemas.openxmlformats.org/officeDocument/2006/customXml" ds:itemID="{8F1FF8D5-6276-4777-A442-6F14C7855F6E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43FED77B-E5CE-419A-8809-D9250AA858A3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14</TotalTime>
  <Words>1096</Words>
  <Application>Microsoft Office PowerPoint</Application>
  <PresentationFormat>Widescreen</PresentationFormat>
  <Paragraphs>129</Paragraphs>
  <Slides>13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Arial Bold</vt:lpstr>
      <vt:lpstr>Calibri</vt:lpstr>
      <vt:lpstr>ONS</vt:lpstr>
      <vt:lpstr>Gwybodaeth i Awdurdodau Lleol   Mae'r cyflwyniad hwn wedi cael ei ddarparu i awdurdodau lleol er mwyn hyrwyddo'r cyfrifiad yn fewnol</vt:lpstr>
      <vt:lpstr>Y cyfrifiad </vt:lpstr>
      <vt:lpstr>Cadw eich gwybodaeth bersonol yn ddiogel</vt:lpstr>
      <vt:lpstr>Pam y cynhelir cyfrifiad </vt:lpstr>
      <vt:lpstr>Mae gwybodaeth o'r cyfrifiad yn llywio penderfyniadau sy'n gwella bywydau Cynllunio a datblygu</vt:lpstr>
      <vt:lpstr>Mae gwybodaeth o'r cyfrifiad yn llywio penderfyniadau sy'n gwella bywydau</vt:lpstr>
      <vt:lpstr>Ffeithiau am Gyfrifiad 2021 </vt:lpstr>
      <vt:lpstr>PowerPoint Presentation</vt:lpstr>
      <vt:lpstr>Ble mae angen eich help arnom ni… </vt:lpstr>
      <vt:lpstr>Byddwn yn rhoi’r wybodaeth ddiweddaraf i chi </vt:lpstr>
      <vt:lpstr>Beth sy'n digwydd nesaf?</vt:lpstr>
      <vt:lpstr>Ni allwn ei wneud hebddoch chi </vt:lpstr>
      <vt:lpstr>Cadw mewn cysylltiad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 internal census promotion presentation, Welsh</dc:title>
  <dc:creator>Andy Budd</dc:creator>
  <cp:keywords/>
  <cp:lastModifiedBy>Saint, Trevor</cp:lastModifiedBy>
  <cp:revision>198</cp:revision>
  <dcterms:created xsi:type="dcterms:W3CDTF">2018-07-16T11:41:44Z</dcterms:created>
  <dcterms:modified xsi:type="dcterms:W3CDTF">2020-09-01T12:1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5E33599CC8D1E47A037F474646B1D58001B56DA43EA564C4BBA0FD92A69799A1D</vt:lpwstr>
  </property>
  <property fmtid="{D5CDD505-2E9C-101B-9397-08002B2CF9AE}" pid="3" name="_dlc_policyId">
    <vt:lpwstr>0x01010035E33599CC8D1E47A037F474646B1D58|2057524105</vt:lpwstr>
  </property>
  <property fmtid="{D5CDD505-2E9C-101B-9397-08002B2CF9AE}" pid="4" name="ItemRetentionFormula">
    <vt:lpwstr>&lt;formula id="Microsoft.Office.RecordsManagement.PolicyFeatures.Expiration.Formula.BuiltIn"&gt;&lt;number&gt;100&lt;/number&gt;&lt;property&gt;Retention_x005f_x0020_Date&lt;/property&gt;&lt;period&gt;years&lt;/period&gt;&lt;/formula&gt;</vt:lpwstr>
  </property>
  <property fmtid="{D5CDD505-2E9C-101B-9397-08002B2CF9AE}" pid="5" name="_dlc_DocIdItemGuid">
    <vt:lpwstr>13a03d85-2cd1-4597-8c4c-cb2d06d0a7b4</vt:lpwstr>
  </property>
  <property fmtid="{D5CDD505-2E9C-101B-9397-08002B2CF9AE}" pid="6" name="TaxKeyword">
    <vt:lpwstr/>
  </property>
  <property fmtid="{D5CDD505-2E9C-101B-9397-08002B2CF9AE}" pid="7" name="RecordType">
    <vt:lpwstr>1;#Programme and Project|96356c75-f26d-45f0-a4b1-e809250f704c</vt:lpwstr>
  </property>
  <property fmtid="{D5CDD505-2E9C-101B-9397-08002B2CF9AE}" pid="8" name="TaxCatchAll">
    <vt:lpwstr>1;#Programme and Project|96356c75-f26d-45f0-a4b1-e809250f704c</vt:lpwstr>
  </property>
</Properties>
</file>